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22" r:id="rId2"/>
    <p:sldMasterId id="2147483660" r:id="rId3"/>
    <p:sldMasterId id="2147483908" r:id="rId4"/>
  </p:sldMasterIdLst>
  <p:sldIdLst>
    <p:sldId id="256" r:id="rId5"/>
    <p:sldId id="266" r:id="rId6"/>
    <p:sldId id="257" r:id="rId7"/>
    <p:sldId id="263" r:id="rId8"/>
    <p:sldId id="262" r:id="rId9"/>
    <p:sldId id="267" r:id="rId10"/>
    <p:sldId id="261" r:id="rId11"/>
    <p:sldId id="264" r:id="rId12"/>
    <p:sldId id="260" r:id="rId13"/>
    <p:sldId id="259" r:id="rId14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64">
          <p15:clr>
            <a:srgbClr val="A4A3A4"/>
          </p15:clr>
        </p15:guide>
        <p15:guide id="2" pos="288">
          <p15:clr>
            <a:srgbClr val="A4A3A4"/>
          </p15:clr>
        </p15:guide>
        <p15:guide id="4" orient="horz" pos="6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F6C"/>
    <a:srgbClr val="71B840"/>
    <a:srgbClr val="00B0F0"/>
    <a:srgbClr val="FFFFFF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1AB6B3-8DB2-4171-A209-8011848D08EE}" v="247" dt="2025-04-30T22:33:14.3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20" y="96"/>
      </p:cViewPr>
      <p:guideLst>
        <p:guide orient="horz" pos="3264"/>
        <p:guide pos="288"/>
        <p:guide orient="horz" pos="6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agleson, Jenna" userId="a85a61f1-7d3d-4a6b-b78d-a3b09be92552" providerId="ADAL" clId="{591AB6B3-8DB2-4171-A209-8011848D08EE}"/>
    <pc:docChg chg="undo redo custSel addSld delSld modSld sldOrd">
      <pc:chgData name="Eagleson, Jenna" userId="a85a61f1-7d3d-4a6b-b78d-a3b09be92552" providerId="ADAL" clId="{591AB6B3-8DB2-4171-A209-8011848D08EE}" dt="2025-04-30T22:35:33.612" v="3383" actId="1076"/>
      <pc:docMkLst>
        <pc:docMk/>
      </pc:docMkLst>
      <pc:sldChg chg="addSp delSp modSp mod ord">
        <pc:chgData name="Eagleson, Jenna" userId="a85a61f1-7d3d-4a6b-b78d-a3b09be92552" providerId="ADAL" clId="{591AB6B3-8DB2-4171-A209-8011848D08EE}" dt="2025-04-30T22:19:03.001" v="3196" actId="948"/>
        <pc:sldMkLst>
          <pc:docMk/>
          <pc:sldMk cId="1467109315" sldId="257"/>
        </pc:sldMkLst>
        <pc:spChg chg="del mod">
          <ac:chgData name="Eagleson, Jenna" userId="a85a61f1-7d3d-4a6b-b78d-a3b09be92552" providerId="ADAL" clId="{591AB6B3-8DB2-4171-A209-8011848D08EE}" dt="2025-04-30T21:52:39.366" v="2388" actId="3680"/>
          <ac:spMkLst>
            <pc:docMk/>
            <pc:sldMk cId="1467109315" sldId="257"/>
            <ac:spMk id="2" creationId="{2D662DCB-6E79-D87C-C651-CC76F6A4699B}"/>
          </ac:spMkLst>
        </pc:spChg>
        <pc:spChg chg="mod">
          <ac:chgData name="Eagleson, Jenna" userId="a85a61f1-7d3d-4a6b-b78d-a3b09be92552" providerId="ADAL" clId="{591AB6B3-8DB2-4171-A209-8011848D08EE}" dt="2025-04-30T22:02:02.230" v="2782" actId="20577"/>
          <ac:spMkLst>
            <pc:docMk/>
            <pc:sldMk cId="1467109315" sldId="257"/>
            <ac:spMk id="4" creationId="{5D995234-3BBA-5C85-2A65-DCFB52726E8C}"/>
          </ac:spMkLst>
        </pc:spChg>
        <pc:spChg chg="add mod">
          <ac:chgData name="Eagleson, Jenna" userId="a85a61f1-7d3d-4a6b-b78d-a3b09be92552" providerId="ADAL" clId="{591AB6B3-8DB2-4171-A209-8011848D08EE}" dt="2025-04-30T22:07:22.394" v="2954" actId="1076"/>
          <ac:spMkLst>
            <pc:docMk/>
            <pc:sldMk cId="1467109315" sldId="257"/>
            <ac:spMk id="6" creationId="{3EB643C6-4E9C-F75E-F717-8C582BCB95ED}"/>
          </ac:spMkLst>
        </pc:spChg>
        <pc:spChg chg="add mod">
          <ac:chgData name="Eagleson, Jenna" userId="a85a61f1-7d3d-4a6b-b78d-a3b09be92552" providerId="ADAL" clId="{591AB6B3-8DB2-4171-A209-8011848D08EE}" dt="2025-04-30T22:09:39.356" v="3017" actId="1076"/>
          <ac:spMkLst>
            <pc:docMk/>
            <pc:sldMk cId="1467109315" sldId="257"/>
            <ac:spMk id="7" creationId="{C9BCF58C-CE78-98DE-6D12-800FFBAFE18E}"/>
          </ac:spMkLst>
        </pc:spChg>
        <pc:graphicFrameChg chg="add mod ord modGraphic">
          <ac:chgData name="Eagleson, Jenna" userId="a85a61f1-7d3d-4a6b-b78d-a3b09be92552" providerId="ADAL" clId="{591AB6B3-8DB2-4171-A209-8011848D08EE}" dt="2025-04-30T22:19:03.001" v="3196" actId="948"/>
          <ac:graphicFrameMkLst>
            <pc:docMk/>
            <pc:sldMk cId="1467109315" sldId="257"/>
            <ac:graphicFrameMk id="5" creationId="{450E86B4-047C-601B-EC4D-67420EDBE5C9}"/>
          </ac:graphicFrameMkLst>
        </pc:graphicFrameChg>
      </pc:sldChg>
      <pc:sldChg chg="add del">
        <pc:chgData name="Eagleson, Jenna" userId="a85a61f1-7d3d-4a6b-b78d-a3b09be92552" providerId="ADAL" clId="{591AB6B3-8DB2-4171-A209-8011848D08EE}" dt="2025-04-30T22:11:45.907" v="3038" actId="47"/>
        <pc:sldMkLst>
          <pc:docMk/>
          <pc:sldMk cId="2286019027" sldId="258"/>
        </pc:sldMkLst>
      </pc:sldChg>
      <pc:sldChg chg="addSp delSp modSp new mod ord">
        <pc:chgData name="Eagleson, Jenna" userId="a85a61f1-7d3d-4a6b-b78d-a3b09be92552" providerId="ADAL" clId="{591AB6B3-8DB2-4171-A209-8011848D08EE}" dt="2025-04-22T19:04:57.336" v="309" actId="1076"/>
        <pc:sldMkLst>
          <pc:docMk/>
          <pc:sldMk cId="3336603095" sldId="260"/>
        </pc:sldMkLst>
        <pc:graphicFrameChg chg="add mod modGraphic">
          <ac:chgData name="Eagleson, Jenna" userId="a85a61f1-7d3d-4a6b-b78d-a3b09be92552" providerId="ADAL" clId="{591AB6B3-8DB2-4171-A209-8011848D08EE}" dt="2025-04-22T19:04:57.336" v="309" actId="1076"/>
          <ac:graphicFrameMkLst>
            <pc:docMk/>
            <pc:sldMk cId="3336603095" sldId="260"/>
            <ac:graphicFrameMk id="5" creationId="{6700BFB7-5CF3-2FCA-BE51-F2A209A44901}"/>
          </ac:graphicFrameMkLst>
        </pc:graphicFrameChg>
      </pc:sldChg>
      <pc:sldChg chg="addSp delSp modSp new add del mod ord modClrScheme chgLayout">
        <pc:chgData name="Eagleson, Jenna" userId="a85a61f1-7d3d-4a6b-b78d-a3b09be92552" providerId="ADAL" clId="{591AB6B3-8DB2-4171-A209-8011848D08EE}" dt="2025-04-30T22:03:11.254" v="2812" actId="20577"/>
        <pc:sldMkLst>
          <pc:docMk/>
          <pc:sldMk cId="3438747837" sldId="261"/>
        </pc:sldMkLst>
        <pc:spChg chg="del">
          <ac:chgData name="Eagleson, Jenna" userId="a85a61f1-7d3d-4a6b-b78d-a3b09be92552" providerId="ADAL" clId="{591AB6B3-8DB2-4171-A209-8011848D08EE}" dt="2025-04-30T15:55:55.281" v="313"/>
          <ac:spMkLst>
            <pc:docMk/>
            <pc:sldMk cId="3438747837" sldId="261"/>
            <ac:spMk id="2" creationId="{1AE3807E-31E8-BAFB-6ECD-A3E688E10712}"/>
          </ac:spMkLst>
        </pc:spChg>
        <pc:spChg chg="mod ord">
          <ac:chgData name="Eagleson, Jenna" userId="a85a61f1-7d3d-4a6b-b78d-a3b09be92552" providerId="ADAL" clId="{591AB6B3-8DB2-4171-A209-8011848D08EE}" dt="2025-04-30T16:13:20.983" v="334" actId="700"/>
          <ac:spMkLst>
            <pc:docMk/>
            <pc:sldMk cId="3438747837" sldId="261"/>
            <ac:spMk id="3" creationId="{A23FD4C5-D3D8-53B9-3252-368291CFB9B0}"/>
          </ac:spMkLst>
        </pc:spChg>
        <pc:spChg chg="del mod ord">
          <ac:chgData name="Eagleson, Jenna" userId="a85a61f1-7d3d-4a6b-b78d-a3b09be92552" providerId="ADAL" clId="{591AB6B3-8DB2-4171-A209-8011848D08EE}" dt="2025-04-30T16:13:20.983" v="334" actId="700"/>
          <ac:spMkLst>
            <pc:docMk/>
            <pc:sldMk cId="3438747837" sldId="261"/>
            <ac:spMk id="4" creationId="{58F70CE7-ED07-E068-5979-B2F7F3085B4F}"/>
          </ac:spMkLst>
        </pc:spChg>
        <pc:spChg chg="add mod ord">
          <ac:chgData name="Eagleson, Jenna" userId="a85a61f1-7d3d-4a6b-b78d-a3b09be92552" providerId="ADAL" clId="{591AB6B3-8DB2-4171-A209-8011848D08EE}" dt="2025-04-30T22:03:11.254" v="2812" actId="20577"/>
          <ac:spMkLst>
            <pc:docMk/>
            <pc:sldMk cId="3438747837" sldId="261"/>
            <ac:spMk id="6" creationId="{0423699F-98AD-636F-3148-5BF37E5F48FF}"/>
          </ac:spMkLst>
        </pc:spChg>
        <pc:spChg chg="add mod ord">
          <ac:chgData name="Eagleson, Jenna" userId="a85a61f1-7d3d-4a6b-b78d-a3b09be92552" providerId="ADAL" clId="{591AB6B3-8DB2-4171-A209-8011848D08EE}" dt="2025-04-30T16:13:36.738" v="396" actId="20577"/>
          <ac:spMkLst>
            <pc:docMk/>
            <pc:sldMk cId="3438747837" sldId="261"/>
            <ac:spMk id="7" creationId="{B7BC91E0-2435-F431-6D43-CBCEE74C12A0}"/>
          </ac:spMkLst>
        </pc:spChg>
        <pc:spChg chg="add del mod">
          <ac:chgData name="Eagleson, Jenna" userId="a85a61f1-7d3d-4a6b-b78d-a3b09be92552" providerId="ADAL" clId="{591AB6B3-8DB2-4171-A209-8011848D08EE}" dt="2025-04-30T22:02:42.264" v="2793" actId="478"/>
          <ac:spMkLst>
            <pc:docMk/>
            <pc:sldMk cId="3438747837" sldId="261"/>
            <ac:spMk id="8" creationId="{A12A12A5-1448-5F0A-A3CC-CD3E57C35B43}"/>
          </ac:spMkLst>
        </pc:spChg>
        <pc:spChg chg="mod">
          <ac:chgData name="Eagleson, Jenna" userId="a85a61f1-7d3d-4a6b-b78d-a3b09be92552" providerId="ADAL" clId="{591AB6B3-8DB2-4171-A209-8011848D08EE}" dt="2025-04-30T16:16:22.481" v="577"/>
          <ac:spMkLst>
            <pc:docMk/>
            <pc:sldMk cId="3438747837" sldId="261"/>
            <ac:spMk id="12" creationId="{7650C49F-022E-6972-EDFA-B824E0B0D7F7}"/>
          </ac:spMkLst>
        </pc:spChg>
        <pc:spChg chg="mod">
          <ac:chgData name="Eagleson, Jenna" userId="a85a61f1-7d3d-4a6b-b78d-a3b09be92552" providerId="ADAL" clId="{591AB6B3-8DB2-4171-A209-8011848D08EE}" dt="2025-04-30T16:16:22.481" v="577"/>
          <ac:spMkLst>
            <pc:docMk/>
            <pc:sldMk cId="3438747837" sldId="261"/>
            <ac:spMk id="13" creationId="{3EDCBE01-1451-9895-3FC0-C2386991A2D6}"/>
          </ac:spMkLst>
        </pc:spChg>
        <pc:spChg chg="mod">
          <ac:chgData name="Eagleson, Jenna" userId="a85a61f1-7d3d-4a6b-b78d-a3b09be92552" providerId="ADAL" clId="{591AB6B3-8DB2-4171-A209-8011848D08EE}" dt="2025-04-30T16:16:22.481" v="577"/>
          <ac:spMkLst>
            <pc:docMk/>
            <pc:sldMk cId="3438747837" sldId="261"/>
            <ac:spMk id="14" creationId="{8A1C44F3-7F05-3241-221E-61B849878683}"/>
          </ac:spMkLst>
        </pc:spChg>
        <pc:grpChg chg="add del mod">
          <ac:chgData name="Eagleson, Jenna" userId="a85a61f1-7d3d-4a6b-b78d-a3b09be92552" providerId="ADAL" clId="{591AB6B3-8DB2-4171-A209-8011848D08EE}" dt="2025-04-30T22:02:39.445" v="2792" actId="478"/>
          <ac:grpSpMkLst>
            <pc:docMk/>
            <pc:sldMk cId="3438747837" sldId="261"/>
            <ac:grpSpMk id="10" creationId="{6D7E9A11-3C51-F45B-9AB5-9A729BFC6DFA}"/>
          </ac:grpSpMkLst>
        </pc:grpChg>
        <pc:graphicFrameChg chg="add mod ord modGraphic">
          <ac:chgData name="Eagleson, Jenna" userId="a85a61f1-7d3d-4a6b-b78d-a3b09be92552" providerId="ADAL" clId="{591AB6B3-8DB2-4171-A209-8011848D08EE}" dt="2025-04-30T22:03:03.905" v="2799" actId="242"/>
          <ac:graphicFrameMkLst>
            <pc:docMk/>
            <pc:sldMk cId="3438747837" sldId="261"/>
            <ac:graphicFrameMk id="5" creationId="{39C486AC-BE46-E2EC-976B-C43BD004228C}"/>
          </ac:graphicFrameMkLst>
        </pc:graphicFrameChg>
        <pc:picChg chg="add del mod">
          <ac:chgData name="Eagleson, Jenna" userId="a85a61f1-7d3d-4a6b-b78d-a3b09be92552" providerId="ADAL" clId="{591AB6B3-8DB2-4171-A209-8011848D08EE}" dt="2025-04-30T16:16:17.070" v="576" actId="478"/>
          <ac:picMkLst>
            <pc:docMk/>
            <pc:sldMk cId="3438747837" sldId="261"/>
            <ac:picMk id="9" creationId="{FF1258ED-AA20-8476-43FA-E97BC30C3AF1}"/>
          </ac:picMkLst>
        </pc:picChg>
        <pc:picChg chg="mod">
          <ac:chgData name="Eagleson, Jenna" userId="a85a61f1-7d3d-4a6b-b78d-a3b09be92552" providerId="ADAL" clId="{591AB6B3-8DB2-4171-A209-8011848D08EE}" dt="2025-04-30T16:16:22.481" v="577"/>
          <ac:picMkLst>
            <pc:docMk/>
            <pc:sldMk cId="3438747837" sldId="261"/>
            <ac:picMk id="11" creationId="{A599C12B-3DFB-1AD7-81C6-A681AC5F6C48}"/>
          </ac:picMkLst>
        </pc:picChg>
      </pc:sldChg>
      <pc:sldChg chg="addSp delSp modSp new mod ord">
        <pc:chgData name="Eagleson, Jenna" userId="a85a61f1-7d3d-4a6b-b78d-a3b09be92552" providerId="ADAL" clId="{591AB6B3-8DB2-4171-A209-8011848D08EE}" dt="2025-04-30T22:17:40.122" v="3193" actId="1076"/>
        <pc:sldMkLst>
          <pc:docMk/>
          <pc:sldMk cId="1573113865" sldId="262"/>
        </pc:sldMkLst>
        <pc:spChg chg="mod">
          <ac:chgData name="Eagleson, Jenna" userId="a85a61f1-7d3d-4a6b-b78d-a3b09be92552" providerId="ADAL" clId="{591AB6B3-8DB2-4171-A209-8011848D08EE}" dt="2025-04-30T22:16:15.985" v="3182" actId="1076"/>
          <ac:spMkLst>
            <pc:docMk/>
            <pc:sldMk cId="1573113865" sldId="262"/>
            <ac:spMk id="2" creationId="{EA1E37CC-29AE-DAA8-0217-D556544DB02D}"/>
          </ac:spMkLst>
        </pc:spChg>
        <pc:spChg chg="mod">
          <ac:chgData name="Eagleson, Jenna" userId="a85a61f1-7d3d-4a6b-b78d-a3b09be92552" providerId="ADAL" clId="{591AB6B3-8DB2-4171-A209-8011848D08EE}" dt="2025-04-30T21:47:38.507" v="2313" actId="20577"/>
          <ac:spMkLst>
            <pc:docMk/>
            <pc:sldMk cId="1573113865" sldId="262"/>
            <ac:spMk id="4" creationId="{99E87D64-2DD7-3641-DF09-D5E07E97CCFC}"/>
          </ac:spMkLst>
        </pc:spChg>
        <pc:spChg chg="add mod">
          <ac:chgData name="Eagleson, Jenna" userId="a85a61f1-7d3d-4a6b-b78d-a3b09be92552" providerId="ADAL" clId="{591AB6B3-8DB2-4171-A209-8011848D08EE}" dt="2025-04-30T20:12:05.535" v="891" actId="1076"/>
          <ac:spMkLst>
            <pc:docMk/>
            <pc:sldMk cId="1573113865" sldId="262"/>
            <ac:spMk id="6" creationId="{82F13044-E86E-0C54-21C9-D4397E8B0E20}"/>
          </ac:spMkLst>
        </pc:spChg>
        <pc:spChg chg="add mod ord">
          <ac:chgData name="Eagleson, Jenna" userId="a85a61f1-7d3d-4a6b-b78d-a3b09be92552" providerId="ADAL" clId="{591AB6B3-8DB2-4171-A209-8011848D08EE}" dt="2025-04-30T21:34:52.557" v="2117" actId="20577"/>
          <ac:spMkLst>
            <pc:docMk/>
            <pc:sldMk cId="1573113865" sldId="262"/>
            <ac:spMk id="8" creationId="{CD215CEC-D62F-8D20-EE4C-D8540A4CB843}"/>
          </ac:spMkLst>
        </pc:spChg>
        <pc:spChg chg="add del mod">
          <ac:chgData name="Eagleson, Jenna" userId="a85a61f1-7d3d-4a6b-b78d-a3b09be92552" providerId="ADAL" clId="{591AB6B3-8DB2-4171-A209-8011848D08EE}" dt="2025-04-30T20:17:08.307" v="977" actId="478"/>
          <ac:spMkLst>
            <pc:docMk/>
            <pc:sldMk cId="1573113865" sldId="262"/>
            <ac:spMk id="13" creationId="{F69311B5-1128-C321-5448-9EDB865BA18A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4" creationId="{EEC47065-3C83-FE30-E3BF-A1B6AEDBDBD2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5" creationId="{32BACB2C-7ABB-77E4-8AAE-43DACBA55938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6" creationId="{6499D483-749B-FACD-CF46-93A447F2F8A1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7" creationId="{1EF8C686-D2CB-D67F-ECE1-7510769E4C7F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8" creationId="{3B7DAB9F-5BF8-5936-3DC2-C26E1F583B1F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19" creationId="{57D8A46D-A471-D6BF-C94D-DB743CD11F3F}"/>
          </ac:spMkLst>
        </pc:spChg>
        <pc:spChg chg="add mod">
          <ac:chgData name="Eagleson, Jenna" userId="a85a61f1-7d3d-4a6b-b78d-a3b09be92552" providerId="ADAL" clId="{591AB6B3-8DB2-4171-A209-8011848D08EE}" dt="2025-04-30T21:35:06.717" v="2121" actId="1076"/>
          <ac:spMkLst>
            <pc:docMk/>
            <pc:sldMk cId="1573113865" sldId="262"/>
            <ac:spMk id="22" creationId="{B3612DFD-4163-24A3-4A4E-E55936DC047E}"/>
          </ac:spMkLst>
        </pc:spChg>
        <pc:spChg chg="add mod">
          <ac:chgData name="Eagleson, Jenna" userId="a85a61f1-7d3d-4a6b-b78d-a3b09be92552" providerId="ADAL" clId="{591AB6B3-8DB2-4171-A209-8011848D08EE}" dt="2025-04-30T21:48:11.434" v="2369" actId="1076"/>
          <ac:spMkLst>
            <pc:docMk/>
            <pc:sldMk cId="1573113865" sldId="262"/>
            <ac:spMk id="24" creationId="{0A8E9083-E7D0-46A0-35C9-50785497AF90}"/>
          </ac:spMkLst>
        </pc:spChg>
        <pc:spChg chg="add del mod">
          <ac:chgData name="Eagleson, Jenna" userId="a85a61f1-7d3d-4a6b-b78d-a3b09be92552" providerId="ADAL" clId="{591AB6B3-8DB2-4171-A209-8011848D08EE}" dt="2025-04-30T22:16:26.523" v="3183" actId="21"/>
          <ac:spMkLst>
            <pc:docMk/>
            <pc:sldMk cId="1573113865" sldId="262"/>
            <ac:spMk id="25" creationId="{9E4B7B5B-B474-F3EA-2966-4CA6F1D901E1}"/>
          </ac:spMkLst>
        </pc:spChg>
        <pc:spChg chg="add mod">
          <ac:chgData name="Eagleson, Jenna" userId="a85a61f1-7d3d-4a6b-b78d-a3b09be92552" providerId="ADAL" clId="{591AB6B3-8DB2-4171-A209-8011848D08EE}" dt="2025-04-30T22:17:40.122" v="3193" actId="1076"/>
          <ac:spMkLst>
            <pc:docMk/>
            <pc:sldMk cId="1573113865" sldId="262"/>
            <ac:spMk id="26" creationId="{0D404E66-48CF-5213-7A6B-47087A271DBA}"/>
          </ac:spMkLst>
        </pc:spChg>
        <pc:spChg chg="add mod">
          <ac:chgData name="Eagleson, Jenna" userId="a85a61f1-7d3d-4a6b-b78d-a3b09be92552" providerId="ADAL" clId="{591AB6B3-8DB2-4171-A209-8011848D08EE}" dt="2025-04-30T22:17:40.122" v="3193" actId="1076"/>
          <ac:spMkLst>
            <pc:docMk/>
            <pc:sldMk cId="1573113865" sldId="262"/>
            <ac:spMk id="27" creationId="{D2B25502-7405-9D4E-BD18-47B4B16AC8A0}"/>
          </ac:spMkLst>
        </pc:spChg>
        <pc:spChg chg="add mod">
          <ac:chgData name="Eagleson, Jenna" userId="a85a61f1-7d3d-4a6b-b78d-a3b09be92552" providerId="ADAL" clId="{591AB6B3-8DB2-4171-A209-8011848D08EE}" dt="2025-04-30T22:17:40.122" v="3193" actId="1076"/>
          <ac:spMkLst>
            <pc:docMk/>
            <pc:sldMk cId="1573113865" sldId="262"/>
            <ac:spMk id="28" creationId="{F6029B6C-C66B-9B43-B9C2-CAC38CB6A6A7}"/>
          </ac:spMkLst>
        </pc:spChg>
        <pc:graphicFrameChg chg="add mod modGraphic">
          <ac:chgData name="Eagleson, Jenna" userId="a85a61f1-7d3d-4a6b-b78d-a3b09be92552" providerId="ADAL" clId="{591AB6B3-8DB2-4171-A209-8011848D08EE}" dt="2025-04-30T21:30:05.258" v="2017" actId="207"/>
          <ac:graphicFrameMkLst>
            <pc:docMk/>
            <pc:sldMk cId="1573113865" sldId="262"/>
            <ac:graphicFrameMk id="5" creationId="{82916CC6-885B-0966-803A-AF1B5DDC2806}"/>
          </ac:graphicFrameMkLst>
        </pc:graphicFrameChg>
        <pc:cxnChg chg="add mod">
          <ac:chgData name="Eagleson, Jenna" userId="a85a61f1-7d3d-4a6b-b78d-a3b09be92552" providerId="ADAL" clId="{591AB6B3-8DB2-4171-A209-8011848D08EE}" dt="2025-04-30T21:34:48.569" v="2111" actId="14100"/>
          <ac:cxnSpMkLst>
            <pc:docMk/>
            <pc:sldMk cId="1573113865" sldId="262"/>
            <ac:cxnSpMk id="7" creationId="{40FEF526-8FDC-08EA-027E-280BA9DA968F}"/>
          </ac:cxnSpMkLst>
        </pc:cxnChg>
        <pc:cxnChg chg="add mod">
          <ac:chgData name="Eagleson, Jenna" userId="a85a61f1-7d3d-4a6b-b78d-a3b09be92552" providerId="ADAL" clId="{591AB6B3-8DB2-4171-A209-8011848D08EE}" dt="2025-04-30T21:35:01.437" v="2120" actId="1076"/>
          <ac:cxnSpMkLst>
            <pc:docMk/>
            <pc:sldMk cId="1573113865" sldId="262"/>
            <ac:cxnSpMk id="21" creationId="{A141EE31-ADDE-2B85-4396-FE9E5066E87D}"/>
          </ac:cxnSpMkLst>
        </pc:cxnChg>
      </pc:sldChg>
      <pc:sldChg chg="addSp delSp modSp new mod ord">
        <pc:chgData name="Eagleson, Jenna" userId="a85a61f1-7d3d-4a6b-b78d-a3b09be92552" providerId="ADAL" clId="{591AB6B3-8DB2-4171-A209-8011848D08EE}" dt="2025-04-30T22:09:53.679" v="3019"/>
        <pc:sldMkLst>
          <pc:docMk/>
          <pc:sldMk cId="918950922" sldId="263"/>
        </pc:sldMkLst>
        <pc:spChg chg="del">
          <ac:chgData name="Eagleson, Jenna" userId="a85a61f1-7d3d-4a6b-b78d-a3b09be92552" providerId="ADAL" clId="{591AB6B3-8DB2-4171-A209-8011848D08EE}" dt="2025-04-30T20:20:01.802" v="979"/>
          <ac:spMkLst>
            <pc:docMk/>
            <pc:sldMk cId="918950922" sldId="263"/>
            <ac:spMk id="2" creationId="{D83033A6-948E-3789-29F1-114EF84926CC}"/>
          </ac:spMkLst>
        </pc:spChg>
        <pc:spChg chg="mod">
          <ac:chgData name="Eagleson, Jenna" userId="a85a61f1-7d3d-4a6b-b78d-a3b09be92552" providerId="ADAL" clId="{591AB6B3-8DB2-4171-A209-8011848D08EE}" dt="2025-04-30T21:17:43.589" v="1800" actId="20577"/>
          <ac:spMkLst>
            <pc:docMk/>
            <pc:sldMk cId="918950922" sldId="263"/>
            <ac:spMk id="4" creationId="{6355961B-B746-42CF-D4AE-CDDD17D65041}"/>
          </ac:spMkLst>
        </pc:spChg>
        <pc:spChg chg="add del mod">
          <ac:chgData name="Eagleson, Jenna" userId="a85a61f1-7d3d-4a6b-b78d-a3b09be92552" providerId="ADAL" clId="{591AB6B3-8DB2-4171-A209-8011848D08EE}" dt="2025-04-30T21:01:05.461" v="1713" actId="478"/>
          <ac:spMkLst>
            <pc:docMk/>
            <pc:sldMk cId="918950922" sldId="263"/>
            <ac:spMk id="6" creationId="{57E5C4D7-5FE6-3BF1-1F22-35EE75ECC26D}"/>
          </ac:spMkLst>
        </pc:spChg>
        <pc:spChg chg="add mod">
          <ac:chgData name="Eagleson, Jenna" userId="a85a61f1-7d3d-4a6b-b78d-a3b09be92552" providerId="ADAL" clId="{591AB6B3-8DB2-4171-A209-8011848D08EE}" dt="2025-04-30T21:18:23.742" v="1863" actId="404"/>
          <ac:spMkLst>
            <pc:docMk/>
            <pc:sldMk cId="918950922" sldId="263"/>
            <ac:spMk id="8" creationId="{A6364410-36E1-22E4-B81F-4154ACB0E524}"/>
          </ac:spMkLst>
        </pc:spChg>
        <pc:graphicFrameChg chg="add mod modGraphic">
          <ac:chgData name="Eagleson, Jenna" userId="a85a61f1-7d3d-4a6b-b78d-a3b09be92552" providerId="ADAL" clId="{591AB6B3-8DB2-4171-A209-8011848D08EE}" dt="2025-04-30T21:13:53.752" v="1764" actId="2084"/>
          <ac:graphicFrameMkLst>
            <pc:docMk/>
            <pc:sldMk cId="918950922" sldId="263"/>
            <ac:graphicFrameMk id="5" creationId="{7A089578-876C-F77A-4AC8-A5BEBA401E0C}"/>
          </ac:graphicFrameMkLst>
        </pc:graphicFrameChg>
        <pc:graphicFrameChg chg="add mod modGraphic">
          <ac:chgData name="Eagleson, Jenna" userId="a85a61f1-7d3d-4a6b-b78d-a3b09be92552" providerId="ADAL" clId="{591AB6B3-8DB2-4171-A209-8011848D08EE}" dt="2025-04-30T21:21:13.427" v="1882" actId="20577"/>
          <ac:graphicFrameMkLst>
            <pc:docMk/>
            <pc:sldMk cId="918950922" sldId="263"/>
            <ac:graphicFrameMk id="7" creationId="{864C4678-9E68-F2AF-C195-76A9033A5264}"/>
          </ac:graphicFrameMkLst>
        </pc:graphicFrameChg>
      </pc:sldChg>
      <pc:sldChg chg="addSp modSp add">
        <pc:chgData name="Eagleson, Jenna" userId="a85a61f1-7d3d-4a6b-b78d-a3b09be92552" providerId="ADAL" clId="{591AB6B3-8DB2-4171-A209-8011848D08EE}" dt="2025-04-30T22:16:30.156" v="3184"/>
        <pc:sldMkLst>
          <pc:docMk/>
          <pc:sldMk cId="3380595609" sldId="264"/>
        </pc:sldMkLst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4" creationId="{EEC47065-3C83-FE30-E3BF-A1B6AEDBDBD2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5" creationId="{32BACB2C-7ABB-77E4-8AAE-43DACBA55938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6" creationId="{6499D483-749B-FACD-CF46-93A447F2F8A1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7" creationId="{1EF8C686-D2CB-D67F-ECE1-7510769E4C7F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8" creationId="{3B7DAB9F-5BF8-5936-3DC2-C26E1F583B1F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19" creationId="{57D8A46D-A471-D6BF-C94D-DB743CD11F3F}"/>
          </ac:spMkLst>
        </pc:spChg>
        <pc:spChg chg="add mod">
          <ac:chgData name="Eagleson, Jenna" userId="a85a61f1-7d3d-4a6b-b78d-a3b09be92552" providerId="ADAL" clId="{591AB6B3-8DB2-4171-A209-8011848D08EE}" dt="2025-04-30T22:16:30.156" v="3184"/>
          <ac:spMkLst>
            <pc:docMk/>
            <pc:sldMk cId="3380595609" sldId="264"/>
            <ac:spMk id="25" creationId="{9E4B7B5B-B474-F3EA-2966-4CA6F1D901E1}"/>
          </ac:spMkLst>
        </pc:spChg>
      </pc:sldChg>
      <pc:sldChg chg="add del">
        <pc:chgData name="Eagleson, Jenna" userId="a85a61f1-7d3d-4a6b-b78d-a3b09be92552" providerId="ADAL" clId="{591AB6B3-8DB2-4171-A209-8011848D08EE}" dt="2025-04-30T22:11:41.984" v="3037" actId="47"/>
        <pc:sldMkLst>
          <pc:docMk/>
          <pc:sldMk cId="2832092350" sldId="265"/>
        </pc:sldMkLst>
      </pc:sldChg>
      <pc:sldChg chg="delSp modSp add del mod">
        <pc:chgData name="Eagleson, Jenna" userId="a85a61f1-7d3d-4a6b-b78d-a3b09be92552" providerId="ADAL" clId="{591AB6B3-8DB2-4171-A209-8011848D08EE}" dt="2025-04-30T22:11:10.586" v="3027" actId="47"/>
        <pc:sldMkLst>
          <pc:docMk/>
          <pc:sldMk cId="1005502794" sldId="266"/>
        </pc:sldMkLst>
        <pc:spChg chg="del">
          <ac:chgData name="Eagleson, Jenna" userId="a85a61f1-7d3d-4a6b-b78d-a3b09be92552" providerId="ADAL" clId="{591AB6B3-8DB2-4171-A209-8011848D08EE}" dt="2025-04-30T22:10:34.513" v="3023" actId="478"/>
          <ac:spMkLst>
            <pc:docMk/>
            <pc:sldMk cId="1005502794" sldId="266"/>
            <ac:spMk id="6" creationId="{CCD944DE-C6C2-C94D-3265-177EF3BB43DE}"/>
          </ac:spMkLst>
        </pc:spChg>
        <pc:spChg chg="del">
          <ac:chgData name="Eagleson, Jenna" userId="a85a61f1-7d3d-4a6b-b78d-a3b09be92552" providerId="ADAL" clId="{591AB6B3-8DB2-4171-A209-8011848D08EE}" dt="2025-04-30T22:10:36.664" v="3024" actId="478"/>
          <ac:spMkLst>
            <pc:docMk/>
            <pc:sldMk cId="1005502794" sldId="266"/>
            <ac:spMk id="7" creationId="{64E4F81A-DB18-0319-242F-A000461ABBD3}"/>
          </ac:spMkLst>
        </pc:spChg>
        <pc:graphicFrameChg chg="mod modGraphic">
          <ac:chgData name="Eagleson, Jenna" userId="a85a61f1-7d3d-4a6b-b78d-a3b09be92552" providerId="ADAL" clId="{591AB6B3-8DB2-4171-A209-8011848D08EE}" dt="2025-04-30T22:11:00.702" v="3026" actId="12385"/>
          <ac:graphicFrameMkLst>
            <pc:docMk/>
            <pc:sldMk cId="1005502794" sldId="266"/>
            <ac:graphicFrameMk id="5" creationId="{F2789A7D-DF3D-99D3-AB0A-D9C303262D35}"/>
          </ac:graphicFrameMkLst>
        </pc:graphicFrameChg>
      </pc:sldChg>
      <pc:sldChg chg="addSp delSp modSp new mod ord">
        <pc:chgData name="Eagleson, Jenna" userId="a85a61f1-7d3d-4a6b-b78d-a3b09be92552" providerId="ADAL" clId="{591AB6B3-8DB2-4171-A209-8011848D08EE}" dt="2025-04-30T22:35:33.612" v="3383" actId="1076"/>
        <pc:sldMkLst>
          <pc:docMk/>
          <pc:sldMk cId="1928815440" sldId="266"/>
        </pc:sldMkLst>
        <pc:spChg chg="del">
          <ac:chgData name="Eagleson, Jenna" userId="a85a61f1-7d3d-4a6b-b78d-a3b09be92552" providerId="ADAL" clId="{591AB6B3-8DB2-4171-A209-8011848D08EE}" dt="2025-04-30T22:12:17.549" v="3048" actId="1032"/>
          <ac:spMkLst>
            <pc:docMk/>
            <pc:sldMk cId="1928815440" sldId="266"/>
            <ac:spMk id="2" creationId="{ADADCA97-35FB-002C-0452-D26CF21F2E30}"/>
          </ac:spMkLst>
        </pc:spChg>
        <pc:spChg chg="mod">
          <ac:chgData name="Eagleson, Jenna" userId="a85a61f1-7d3d-4a6b-b78d-a3b09be92552" providerId="ADAL" clId="{591AB6B3-8DB2-4171-A209-8011848D08EE}" dt="2025-04-30T22:11:25.665" v="3036" actId="20577"/>
          <ac:spMkLst>
            <pc:docMk/>
            <pc:sldMk cId="1928815440" sldId="266"/>
            <ac:spMk id="4" creationId="{0113F4D9-79B0-CEA7-019B-9F6DF7097168}"/>
          </ac:spMkLst>
        </pc:spChg>
        <pc:spChg chg="add mod">
          <ac:chgData name="Eagleson, Jenna" userId="a85a61f1-7d3d-4a6b-b78d-a3b09be92552" providerId="ADAL" clId="{591AB6B3-8DB2-4171-A209-8011848D08EE}" dt="2025-04-30T22:35:29.834" v="3382" actId="1076"/>
          <ac:spMkLst>
            <pc:docMk/>
            <pc:sldMk cId="1928815440" sldId="266"/>
            <ac:spMk id="6" creationId="{E36C6217-FBF9-128F-D273-2FDFA81DA5E6}"/>
          </ac:spMkLst>
        </pc:spChg>
        <pc:graphicFrameChg chg="add mod modGraphic">
          <ac:chgData name="Eagleson, Jenna" userId="a85a61f1-7d3d-4a6b-b78d-a3b09be92552" providerId="ADAL" clId="{591AB6B3-8DB2-4171-A209-8011848D08EE}" dt="2025-04-30T22:35:33.612" v="3383" actId="1076"/>
          <ac:graphicFrameMkLst>
            <pc:docMk/>
            <pc:sldMk cId="1928815440" sldId="266"/>
            <ac:graphicFrameMk id="5" creationId="{6A35531F-BDFF-9A21-BC82-BD207DEF8C8B}"/>
          </ac:graphicFrameMkLst>
        </pc:graphicFrameChg>
      </pc:sldChg>
      <pc:sldChg chg="modSp new mod">
        <pc:chgData name="Eagleson, Jenna" userId="a85a61f1-7d3d-4a6b-b78d-a3b09be92552" providerId="ADAL" clId="{591AB6B3-8DB2-4171-A209-8011848D08EE}" dt="2025-04-30T22:12:01.471" v="3047" actId="20577"/>
        <pc:sldMkLst>
          <pc:docMk/>
          <pc:sldMk cId="250634305" sldId="267"/>
        </pc:sldMkLst>
        <pc:spChg chg="mod">
          <ac:chgData name="Eagleson, Jenna" userId="a85a61f1-7d3d-4a6b-b78d-a3b09be92552" providerId="ADAL" clId="{591AB6B3-8DB2-4171-A209-8011848D08EE}" dt="2025-04-30T22:12:01.471" v="3047" actId="20577"/>
          <ac:spMkLst>
            <pc:docMk/>
            <pc:sldMk cId="250634305" sldId="267"/>
            <ac:spMk id="2" creationId="{C1781128-BD4E-7CC8-6AE9-93F86513CE26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10C1FE-D4D9-486C-9E5B-B2744863FD1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6B6CDC-BCF1-4CCF-896F-C71A4570A34E}">
      <dgm:prSet phldrT="[Text]" custT="1"/>
      <dgm:spPr/>
      <dgm:t>
        <a:bodyPr/>
        <a:lstStyle/>
        <a:p>
          <a:r>
            <a:rPr lang="en-US" sz="2000" dirty="0"/>
            <a:t>HR CVD Overview</a:t>
          </a:r>
        </a:p>
      </dgm:t>
    </dgm:pt>
    <dgm:pt modelId="{27759AE5-1189-4D1E-B4D3-08B1242A0702}" type="parTrans" cxnId="{F6824E7A-4599-49CB-B262-822533759B0C}">
      <dgm:prSet/>
      <dgm:spPr/>
      <dgm:t>
        <a:bodyPr/>
        <a:lstStyle/>
        <a:p>
          <a:endParaRPr lang="en-US" sz="700"/>
        </a:p>
      </dgm:t>
    </dgm:pt>
    <dgm:pt modelId="{01511562-DED3-4CF6-9EEF-669338A17A1B}" type="sibTrans" cxnId="{F6824E7A-4599-49CB-B262-822533759B0C}">
      <dgm:prSet/>
      <dgm:spPr/>
      <dgm:t>
        <a:bodyPr/>
        <a:lstStyle/>
        <a:p>
          <a:endParaRPr lang="en-US" sz="700"/>
        </a:p>
      </dgm:t>
    </dgm:pt>
    <dgm:pt modelId="{3344EA08-1EE7-403D-92B6-6FA11BE27487}">
      <dgm:prSet phldrT="[Text]" custT="1"/>
      <dgm:spPr/>
      <dgm:t>
        <a:bodyPr/>
        <a:lstStyle/>
        <a:p>
          <a:r>
            <a:rPr lang="en-US" sz="2000" dirty="0"/>
            <a:t>Decoding the CVD Bowler</a:t>
          </a:r>
        </a:p>
      </dgm:t>
    </dgm:pt>
    <dgm:pt modelId="{41C7DA9F-AB6F-4BDB-84B4-5849B65EA969}" type="parTrans" cxnId="{80817826-2C4B-426F-84DA-4A67463EC497}">
      <dgm:prSet/>
      <dgm:spPr/>
      <dgm:t>
        <a:bodyPr/>
        <a:lstStyle/>
        <a:p>
          <a:endParaRPr lang="en-US" sz="700"/>
        </a:p>
      </dgm:t>
    </dgm:pt>
    <dgm:pt modelId="{1C57AD6C-C9DF-443B-B498-31F6B09B88CB}" type="sibTrans" cxnId="{80817826-2C4B-426F-84DA-4A67463EC497}">
      <dgm:prSet/>
      <dgm:spPr/>
      <dgm:t>
        <a:bodyPr/>
        <a:lstStyle/>
        <a:p>
          <a:endParaRPr lang="en-US" sz="700"/>
        </a:p>
      </dgm:t>
    </dgm:pt>
    <dgm:pt modelId="{D6C40FD6-9D17-4B54-A1FD-586BDD100EB6}">
      <dgm:prSet phldrT="[Text]" custT="1"/>
      <dgm:spPr/>
      <dgm:t>
        <a:bodyPr/>
        <a:lstStyle/>
        <a:p>
          <a:r>
            <a:rPr lang="en-US" sz="2000" dirty="0"/>
            <a:t>Annualizing &amp; Forecasting</a:t>
          </a:r>
        </a:p>
      </dgm:t>
    </dgm:pt>
    <dgm:pt modelId="{726CA94E-55B7-4840-B442-C48181E4D6F2}" type="parTrans" cxnId="{BAA2AE83-2704-41F0-87F2-6BED83DB10AB}">
      <dgm:prSet/>
      <dgm:spPr/>
      <dgm:t>
        <a:bodyPr/>
        <a:lstStyle/>
        <a:p>
          <a:endParaRPr lang="en-US" sz="700"/>
        </a:p>
      </dgm:t>
    </dgm:pt>
    <dgm:pt modelId="{FA0CA679-884F-4D99-A9E0-12B5F8B6C70D}" type="sibTrans" cxnId="{BAA2AE83-2704-41F0-87F2-6BED83DB10AB}">
      <dgm:prSet/>
      <dgm:spPr/>
      <dgm:t>
        <a:bodyPr/>
        <a:lstStyle/>
        <a:p>
          <a:endParaRPr lang="en-US" sz="700"/>
        </a:p>
      </dgm:t>
    </dgm:pt>
    <dgm:pt modelId="{D1A4A361-8E3D-4FC0-AD4A-D94F1E3303C4}" type="pres">
      <dgm:prSet presAssocID="{C110C1FE-D4D9-486C-9E5B-B2744863FD17}" presName="Name0" presStyleCnt="0">
        <dgm:presLayoutVars>
          <dgm:chMax val="7"/>
          <dgm:chPref val="7"/>
          <dgm:dir/>
        </dgm:presLayoutVars>
      </dgm:prSet>
      <dgm:spPr/>
    </dgm:pt>
    <dgm:pt modelId="{75AC9766-0490-49FA-B934-0B51858ED6B7}" type="pres">
      <dgm:prSet presAssocID="{C110C1FE-D4D9-486C-9E5B-B2744863FD17}" presName="Name1" presStyleCnt="0"/>
      <dgm:spPr/>
    </dgm:pt>
    <dgm:pt modelId="{3BA5C9CA-EE9D-4CFF-B9EF-08935E688711}" type="pres">
      <dgm:prSet presAssocID="{C110C1FE-D4D9-486C-9E5B-B2744863FD17}" presName="cycle" presStyleCnt="0"/>
      <dgm:spPr/>
    </dgm:pt>
    <dgm:pt modelId="{5816FFA1-B5A4-4058-A77F-6807A2A2A957}" type="pres">
      <dgm:prSet presAssocID="{C110C1FE-D4D9-486C-9E5B-B2744863FD17}" presName="srcNode" presStyleLbl="node1" presStyleIdx="0" presStyleCnt="3"/>
      <dgm:spPr/>
    </dgm:pt>
    <dgm:pt modelId="{6FFA6E55-B89C-44DB-9633-D60A6956E178}" type="pres">
      <dgm:prSet presAssocID="{C110C1FE-D4D9-486C-9E5B-B2744863FD17}" presName="conn" presStyleLbl="parChTrans1D2" presStyleIdx="0" presStyleCnt="1"/>
      <dgm:spPr/>
    </dgm:pt>
    <dgm:pt modelId="{3C6765F0-E4CB-4C36-9897-29DD6DE3100E}" type="pres">
      <dgm:prSet presAssocID="{C110C1FE-D4D9-486C-9E5B-B2744863FD17}" presName="extraNode" presStyleLbl="node1" presStyleIdx="0" presStyleCnt="3"/>
      <dgm:spPr/>
    </dgm:pt>
    <dgm:pt modelId="{45B4885D-84DB-4911-B2C3-FFB03E5963CD}" type="pres">
      <dgm:prSet presAssocID="{C110C1FE-D4D9-486C-9E5B-B2744863FD17}" presName="dstNode" presStyleLbl="node1" presStyleIdx="0" presStyleCnt="3"/>
      <dgm:spPr/>
    </dgm:pt>
    <dgm:pt modelId="{3497C6C2-E015-4A8B-92AB-329F7E4AED80}" type="pres">
      <dgm:prSet presAssocID="{6C6B6CDC-BCF1-4CCF-896F-C71A4570A34E}" presName="text_1" presStyleLbl="node1" presStyleIdx="0" presStyleCnt="3">
        <dgm:presLayoutVars>
          <dgm:bulletEnabled val="1"/>
        </dgm:presLayoutVars>
      </dgm:prSet>
      <dgm:spPr/>
    </dgm:pt>
    <dgm:pt modelId="{B2D2191F-6CCC-4104-8A00-3D30DFFC6F20}" type="pres">
      <dgm:prSet presAssocID="{6C6B6CDC-BCF1-4CCF-896F-C71A4570A34E}" presName="accent_1" presStyleCnt="0"/>
      <dgm:spPr/>
    </dgm:pt>
    <dgm:pt modelId="{77ED52EE-4B57-4C08-90A6-2DA87459A9F1}" type="pres">
      <dgm:prSet presAssocID="{6C6B6CDC-BCF1-4CCF-896F-C71A4570A34E}" presName="accentRepeatNode" presStyleLbl="solidFgAcc1" presStyleIdx="0" presStyleCnt="3"/>
      <dgm:spPr/>
    </dgm:pt>
    <dgm:pt modelId="{7C408968-B3F0-4EF2-BA8D-3143F36991A8}" type="pres">
      <dgm:prSet presAssocID="{3344EA08-1EE7-403D-92B6-6FA11BE27487}" presName="text_2" presStyleLbl="node1" presStyleIdx="1" presStyleCnt="3">
        <dgm:presLayoutVars>
          <dgm:bulletEnabled val="1"/>
        </dgm:presLayoutVars>
      </dgm:prSet>
      <dgm:spPr/>
    </dgm:pt>
    <dgm:pt modelId="{DFD9900B-0EC6-48FC-828C-CF1ED8FF7DBE}" type="pres">
      <dgm:prSet presAssocID="{3344EA08-1EE7-403D-92B6-6FA11BE27487}" presName="accent_2" presStyleCnt="0"/>
      <dgm:spPr/>
    </dgm:pt>
    <dgm:pt modelId="{C8B35CA3-E7CA-4E4E-B8CC-CD8BF12E086E}" type="pres">
      <dgm:prSet presAssocID="{3344EA08-1EE7-403D-92B6-6FA11BE27487}" presName="accentRepeatNode" presStyleLbl="solidFgAcc1" presStyleIdx="1" presStyleCnt="3"/>
      <dgm:spPr/>
    </dgm:pt>
    <dgm:pt modelId="{B1DC171B-2D4C-4922-9083-F2CF0FE0C52F}" type="pres">
      <dgm:prSet presAssocID="{D6C40FD6-9D17-4B54-A1FD-586BDD100EB6}" presName="text_3" presStyleLbl="node1" presStyleIdx="2" presStyleCnt="3">
        <dgm:presLayoutVars>
          <dgm:bulletEnabled val="1"/>
        </dgm:presLayoutVars>
      </dgm:prSet>
      <dgm:spPr/>
    </dgm:pt>
    <dgm:pt modelId="{EBC5BDBD-B800-44AA-8FB4-5F4E404CB99C}" type="pres">
      <dgm:prSet presAssocID="{D6C40FD6-9D17-4B54-A1FD-586BDD100EB6}" presName="accent_3" presStyleCnt="0"/>
      <dgm:spPr/>
    </dgm:pt>
    <dgm:pt modelId="{1BEAC984-EA62-4507-9FB7-303822566958}" type="pres">
      <dgm:prSet presAssocID="{D6C40FD6-9D17-4B54-A1FD-586BDD100EB6}" presName="accentRepeatNode" presStyleLbl="solidFgAcc1" presStyleIdx="2" presStyleCnt="3"/>
      <dgm:spPr/>
    </dgm:pt>
  </dgm:ptLst>
  <dgm:cxnLst>
    <dgm:cxn modelId="{E6E41A08-0299-41B3-81EA-3DC831DAFA77}" type="presOf" srcId="{C110C1FE-D4D9-486C-9E5B-B2744863FD17}" destId="{D1A4A361-8E3D-4FC0-AD4A-D94F1E3303C4}" srcOrd="0" destOrd="0" presId="urn:microsoft.com/office/officeart/2008/layout/VerticalCurvedList"/>
    <dgm:cxn modelId="{7D38621B-FBC8-418B-9150-F92B56540EF9}" type="presOf" srcId="{6C6B6CDC-BCF1-4CCF-896F-C71A4570A34E}" destId="{3497C6C2-E015-4A8B-92AB-329F7E4AED80}" srcOrd="0" destOrd="0" presId="urn:microsoft.com/office/officeart/2008/layout/VerticalCurvedList"/>
    <dgm:cxn modelId="{80817826-2C4B-426F-84DA-4A67463EC497}" srcId="{C110C1FE-D4D9-486C-9E5B-B2744863FD17}" destId="{3344EA08-1EE7-403D-92B6-6FA11BE27487}" srcOrd="1" destOrd="0" parTransId="{41C7DA9F-AB6F-4BDB-84B4-5849B65EA969}" sibTransId="{1C57AD6C-C9DF-443B-B498-31F6B09B88CB}"/>
    <dgm:cxn modelId="{F6824E7A-4599-49CB-B262-822533759B0C}" srcId="{C110C1FE-D4D9-486C-9E5B-B2744863FD17}" destId="{6C6B6CDC-BCF1-4CCF-896F-C71A4570A34E}" srcOrd="0" destOrd="0" parTransId="{27759AE5-1189-4D1E-B4D3-08B1242A0702}" sibTransId="{01511562-DED3-4CF6-9EEF-669338A17A1B}"/>
    <dgm:cxn modelId="{D61B8583-3A25-4B4B-8CCA-7E14EAFB9448}" type="presOf" srcId="{3344EA08-1EE7-403D-92B6-6FA11BE27487}" destId="{7C408968-B3F0-4EF2-BA8D-3143F36991A8}" srcOrd="0" destOrd="0" presId="urn:microsoft.com/office/officeart/2008/layout/VerticalCurvedList"/>
    <dgm:cxn modelId="{BAA2AE83-2704-41F0-87F2-6BED83DB10AB}" srcId="{C110C1FE-D4D9-486C-9E5B-B2744863FD17}" destId="{D6C40FD6-9D17-4B54-A1FD-586BDD100EB6}" srcOrd="2" destOrd="0" parTransId="{726CA94E-55B7-4840-B442-C48181E4D6F2}" sibTransId="{FA0CA679-884F-4D99-A9E0-12B5F8B6C70D}"/>
    <dgm:cxn modelId="{8E8F119E-FC99-46ED-BC06-7FAA203331F6}" type="presOf" srcId="{01511562-DED3-4CF6-9EEF-669338A17A1B}" destId="{6FFA6E55-B89C-44DB-9633-D60A6956E178}" srcOrd="0" destOrd="0" presId="urn:microsoft.com/office/officeart/2008/layout/VerticalCurvedList"/>
    <dgm:cxn modelId="{1A604DBE-06AB-4269-89AB-9F37E61362F5}" type="presOf" srcId="{D6C40FD6-9D17-4B54-A1FD-586BDD100EB6}" destId="{B1DC171B-2D4C-4922-9083-F2CF0FE0C52F}" srcOrd="0" destOrd="0" presId="urn:microsoft.com/office/officeart/2008/layout/VerticalCurvedList"/>
    <dgm:cxn modelId="{5D5F70C6-7629-483C-BC3F-C8C6F5E48253}" type="presParOf" srcId="{D1A4A361-8E3D-4FC0-AD4A-D94F1E3303C4}" destId="{75AC9766-0490-49FA-B934-0B51858ED6B7}" srcOrd="0" destOrd="0" presId="urn:microsoft.com/office/officeart/2008/layout/VerticalCurvedList"/>
    <dgm:cxn modelId="{B11CB004-B0D9-4C42-83E6-C4F31B52E018}" type="presParOf" srcId="{75AC9766-0490-49FA-B934-0B51858ED6B7}" destId="{3BA5C9CA-EE9D-4CFF-B9EF-08935E688711}" srcOrd="0" destOrd="0" presId="urn:microsoft.com/office/officeart/2008/layout/VerticalCurvedList"/>
    <dgm:cxn modelId="{422B01CD-CB88-40BB-A585-0603BB925A54}" type="presParOf" srcId="{3BA5C9CA-EE9D-4CFF-B9EF-08935E688711}" destId="{5816FFA1-B5A4-4058-A77F-6807A2A2A957}" srcOrd="0" destOrd="0" presId="urn:microsoft.com/office/officeart/2008/layout/VerticalCurvedList"/>
    <dgm:cxn modelId="{3A4671BF-EC19-47F0-874C-C72E3C7454A9}" type="presParOf" srcId="{3BA5C9CA-EE9D-4CFF-B9EF-08935E688711}" destId="{6FFA6E55-B89C-44DB-9633-D60A6956E178}" srcOrd="1" destOrd="0" presId="urn:microsoft.com/office/officeart/2008/layout/VerticalCurvedList"/>
    <dgm:cxn modelId="{6160FCF7-21D9-4625-80CF-366A3DC654C4}" type="presParOf" srcId="{3BA5C9CA-EE9D-4CFF-B9EF-08935E688711}" destId="{3C6765F0-E4CB-4C36-9897-29DD6DE3100E}" srcOrd="2" destOrd="0" presId="urn:microsoft.com/office/officeart/2008/layout/VerticalCurvedList"/>
    <dgm:cxn modelId="{366C5016-DADD-42E1-9E35-0A4608A6141A}" type="presParOf" srcId="{3BA5C9CA-EE9D-4CFF-B9EF-08935E688711}" destId="{45B4885D-84DB-4911-B2C3-FFB03E5963CD}" srcOrd="3" destOrd="0" presId="urn:microsoft.com/office/officeart/2008/layout/VerticalCurvedList"/>
    <dgm:cxn modelId="{C2F752BB-793D-43F0-8897-95A294EA4646}" type="presParOf" srcId="{75AC9766-0490-49FA-B934-0B51858ED6B7}" destId="{3497C6C2-E015-4A8B-92AB-329F7E4AED80}" srcOrd="1" destOrd="0" presId="urn:microsoft.com/office/officeart/2008/layout/VerticalCurvedList"/>
    <dgm:cxn modelId="{39F23D77-B30C-4AB3-A760-742D661FBBA0}" type="presParOf" srcId="{75AC9766-0490-49FA-B934-0B51858ED6B7}" destId="{B2D2191F-6CCC-4104-8A00-3D30DFFC6F20}" srcOrd="2" destOrd="0" presId="urn:microsoft.com/office/officeart/2008/layout/VerticalCurvedList"/>
    <dgm:cxn modelId="{9DB7A4C9-B4F9-487E-910B-092203F49F78}" type="presParOf" srcId="{B2D2191F-6CCC-4104-8A00-3D30DFFC6F20}" destId="{77ED52EE-4B57-4C08-90A6-2DA87459A9F1}" srcOrd="0" destOrd="0" presId="urn:microsoft.com/office/officeart/2008/layout/VerticalCurvedList"/>
    <dgm:cxn modelId="{845F8AFC-7E09-438D-A863-D4091C19A839}" type="presParOf" srcId="{75AC9766-0490-49FA-B934-0B51858ED6B7}" destId="{7C408968-B3F0-4EF2-BA8D-3143F36991A8}" srcOrd="3" destOrd="0" presId="urn:microsoft.com/office/officeart/2008/layout/VerticalCurvedList"/>
    <dgm:cxn modelId="{5E7AB55E-3535-4932-9FE7-91700FF3656C}" type="presParOf" srcId="{75AC9766-0490-49FA-B934-0B51858ED6B7}" destId="{DFD9900B-0EC6-48FC-828C-CF1ED8FF7DBE}" srcOrd="4" destOrd="0" presId="urn:microsoft.com/office/officeart/2008/layout/VerticalCurvedList"/>
    <dgm:cxn modelId="{1E0E291E-EFD6-406C-9781-3DE7AE93DF86}" type="presParOf" srcId="{DFD9900B-0EC6-48FC-828C-CF1ED8FF7DBE}" destId="{C8B35CA3-E7CA-4E4E-B8CC-CD8BF12E086E}" srcOrd="0" destOrd="0" presId="urn:microsoft.com/office/officeart/2008/layout/VerticalCurvedList"/>
    <dgm:cxn modelId="{C0ECB455-B70F-4D31-8C9E-AFEDF45306C2}" type="presParOf" srcId="{75AC9766-0490-49FA-B934-0B51858ED6B7}" destId="{B1DC171B-2D4C-4922-9083-F2CF0FE0C52F}" srcOrd="5" destOrd="0" presId="urn:microsoft.com/office/officeart/2008/layout/VerticalCurvedList"/>
    <dgm:cxn modelId="{5CBBE4B7-5A0C-439A-9595-B559E218F0F4}" type="presParOf" srcId="{75AC9766-0490-49FA-B934-0B51858ED6B7}" destId="{EBC5BDBD-B800-44AA-8FB4-5F4E404CB99C}" srcOrd="6" destOrd="0" presId="urn:microsoft.com/office/officeart/2008/layout/VerticalCurvedList"/>
    <dgm:cxn modelId="{55376E4E-CE17-44D6-B886-D3E61668263A}" type="presParOf" srcId="{EBC5BDBD-B800-44AA-8FB4-5F4E404CB99C}" destId="{1BEAC984-EA62-4507-9FB7-30382256695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FA6E55-B89C-44DB-9633-D60A6956E178}">
      <dsp:nvSpPr>
        <dsp:cNvPr id="0" name=""/>
        <dsp:cNvSpPr/>
      </dsp:nvSpPr>
      <dsp:spPr>
        <a:xfrm>
          <a:off x="-4620055" y="-708318"/>
          <a:ext cx="5503369" cy="5503369"/>
        </a:xfrm>
        <a:prstGeom prst="blockArc">
          <a:avLst>
            <a:gd name="adj1" fmla="val 18900000"/>
            <a:gd name="adj2" fmla="val 2700000"/>
            <a:gd name="adj3" fmla="val 392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97C6C2-E015-4A8B-92AB-329F7E4AED80}">
      <dsp:nvSpPr>
        <dsp:cNvPr id="0" name=""/>
        <dsp:cNvSpPr/>
      </dsp:nvSpPr>
      <dsp:spPr>
        <a:xfrm>
          <a:off x="568089" y="408673"/>
          <a:ext cx="10552364" cy="8173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769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HR CVD Overview</a:t>
          </a:r>
        </a:p>
      </dsp:txBody>
      <dsp:txXfrm>
        <a:off x="568089" y="408673"/>
        <a:ext cx="10552364" cy="817346"/>
      </dsp:txXfrm>
    </dsp:sp>
    <dsp:sp modelId="{77ED52EE-4B57-4C08-90A6-2DA87459A9F1}">
      <dsp:nvSpPr>
        <dsp:cNvPr id="0" name=""/>
        <dsp:cNvSpPr/>
      </dsp:nvSpPr>
      <dsp:spPr>
        <a:xfrm>
          <a:off x="57248" y="306504"/>
          <a:ext cx="1021683" cy="10216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408968-B3F0-4EF2-BA8D-3143F36991A8}">
      <dsp:nvSpPr>
        <dsp:cNvPr id="0" name=""/>
        <dsp:cNvSpPr/>
      </dsp:nvSpPr>
      <dsp:spPr>
        <a:xfrm>
          <a:off x="865195" y="1634693"/>
          <a:ext cx="10255259" cy="8173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769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ecoding the CVD Bowler</a:t>
          </a:r>
        </a:p>
      </dsp:txBody>
      <dsp:txXfrm>
        <a:off x="865195" y="1634693"/>
        <a:ext cx="10255259" cy="817346"/>
      </dsp:txXfrm>
    </dsp:sp>
    <dsp:sp modelId="{C8B35CA3-E7CA-4E4E-B8CC-CD8BF12E086E}">
      <dsp:nvSpPr>
        <dsp:cNvPr id="0" name=""/>
        <dsp:cNvSpPr/>
      </dsp:nvSpPr>
      <dsp:spPr>
        <a:xfrm>
          <a:off x="354353" y="1532524"/>
          <a:ext cx="1021683" cy="10216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DC171B-2D4C-4922-9083-F2CF0FE0C52F}">
      <dsp:nvSpPr>
        <dsp:cNvPr id="0" name=""/>
        <dsp:cNvSpPr/>
      </dsp:nvSpPr>
      <dsp:spPr>
        <a:xfrm>
          <a:off x="568089" y="2860713"/>
          <a:ext cx="10552364" cy="81734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8769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nnualizing &amp; Forecasting</a:t>
          </a:r>
        </a:p>
      </dsp:txBody>
      <dsp:txXfrm>
        <a:off x="568089" y="2860713"/>
        <a:ext cx="10552364" cy="817346"/>
      </dsp:txXfrm>
    </dsp:sp>
    <dsp:sp modelId="{1BEAC984-EA62-4507-9FB7-303822566958}">
      <dsp:nvSpPr>
        <dsp:cNvPr id="0" name=""/>
        <dsp:cNvSpPr/>
      </dsp:nvSpPr>
      <dsp:spPr>
        <a:xfrm>
          <a:off x="57248" y="2758544"/>
          <a:ext cx="1021683" cy="10216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png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 Slide Dark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352F1C-AA23-4B5F-E095-A384C3D39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1CF54BF-C5B3-E62C-8FE4-A8F71D240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642" y="2087309"/>
            <a:ext cx="5295567" cy="208638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spc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320D05-30FF-1507-4581-000FE1177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373001"/>
            <a:ext cx="4090515" cy="19006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EF9B56-129C-FE82-02E2-8D0169D782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78456" y="588062"/>
            <a:ext cx="4488700" cy="911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10097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6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838D98A-84C4-84BC-44C2-D87FAA713EC6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638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30DC7F-E557-A888-A3E4-C09D5AEB121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8" r="11155" b="5739"/>
          <a:stretch/>
        </p:blipFill>
        <p:spPr>
          <a:xfrm>
            <a:off x="4795673" y="-1"/>
            <a:ext cx="7396327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1CF54BF-C5B3-E62C-8FE4-A8F71D240A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641" y="1553437"/>
            <a:ext cx="8038146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cap="all" spc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320D05-30FF-1507-4581-000FE1177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9" y="4199237"/>
            <a:ext cx="8038146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rgbClr val="7EBF49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10FB46-C504-75B4-9A84-F40EA5FBE24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39" y="888347"/>
            <a:ext cx="2764577" cy="39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4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+ Takeawa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59D0BE2-12BB-F019-0A21-48B833F472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800" y="6344730"/>
            <a:ext cx="9855200" cy="520700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8812162-2B01-47E1-D9CA-74F6F3E25E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21280" y="6355124"/>
            <a:ext cx="9049978" cy="493351"/>
          </a:xfrm>
        </p:spPr>
        <p:txBody>
          <a:bodyPr anchor="ctr" anchorCtr="0"/>
          <a:lstStyle>
            <a:lvl1pPr marL="0" indent="0">
              <a:buNone/>
              <a:defRPr sz="1700" b="1" i="1">
                <a:solidFill>
                  <a:srgbClr val="002F6C"/>
                </a:solidFill>
              </a:defRPr>
            </a:lvl1pPr>
            <a:lvl2pPr marL="463550" indent="0">
              <a:buNone/>
              <a:defRPr/>
            </a:lvl2pPr>
            <a:lvl3pPr marL="914400" indent="0">
              <a:buNone/>
              <a:defRPr/>
            </a:lvl3pPr>
            <a:lvl4pPr marL="132397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4499669-1857-A962-818B-CF3E6B6F0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14">
            <a:extLst>
              <a:ext uri="{FF2B5EF4-FFF2-40B4-BE49-F238E27FC236}">
                <a16:creationId xmlns:a16="http://schemas.microsoft.com/office/drawing/2014/main" id="{325B8C8E-AFE0-61B6-BD97-4055A0CE8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EF000B6-B3A2-0557-AC73-527065788A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759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4499669-1857-A962-818B-CF3E6B6F0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17600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14">
            <a:extLst>
              <a:ext uri="{FF2B5EF4-FFF2-40B4-BE49-F238E27FC236}">
                <a16:creationId xmlns:a16="http://schemas.microsoft.com/office/drawing/2014/main" id="{325B8C8E-AFE0-61B6-BD97-4055A0CE8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8424E0-3C0E-C5C2-FB24-78A7DB8D4E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75287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+ Text + Takeawa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516E7A3-1632-83CA-280A-C99776C0D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800" y="6344730"/>
            <a:ext cx="9855200" cy="5207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74A7BF1-2962-57C5-E398-6DDB884E81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21280" y="6355124"/>
            <a:ext cx="9049978" cy="493351"/>
          </a:xfrm>
        </p:spPr>
        <p:txBody>
          <a:bodyPr anchor="ctr" anchorCtr="0"/>
          <a:lstStyle>
            <a:lvl1pPr marL="0" indent="0">
              <a:buNone/>
              <a:defRPr sz="1700" b="1" i="1">
                <a:solidFill>
                  <a:srgbClr val="002F6C"/>
                </a:solidFill>
              </a:defRPr>
            </a:lvl1pPr>
            <a:lvl2pPr marL="463550" indent="0">
              <a:buNone/>
              <a:defRPr/>
            </a:lvl2pPr>
            <a:lvl3pPr marL="914400" indent="0">
              <a:buNone/>
              <a:defRPr/>
            </a:lvl3pPr>
            <a:lvl4pPr marL="132397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138B46-F5A4-346A-577A-78F9C64F7F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400"/>
              </a:spcAft>
              <a:buFontTx/>
              <a:buNone/>
              <a:defRPr b="1">
                <a:solidFill>
                  <a:schemeClr val="tx2"/>
                </a:solidFill>
              </a:defRPr>
            </a:lvl1pPr>
            <a:lvl2pPr marL="463550" indent="-455613">
              <a:spcBef>
                <a:spcPts val="0"/>
              </a:spcBef>
              <a:spcAft>
                <a:spcPts val="1200"/>
              </a:spcAft>
              <a:buNone/>
              <a:tabLst/>
              <a:defRPr/>
            </a:lvl2pPr>
            <a:lvl3pPr marL="630238" indent="-168275">
              <a:spcBef>
                <a:spcPts val="0"/>
              </a:spcBef>
              <a:spcAft>
                <a:spcPts val="600"/>
              </a:spcAft>
              <a:tabLst/>
              <a:defRPr/>
            </a:lvl3pPr>
            <a:lvl4pPr marL="1093788" indent="-176213">
              <a:spcBef>
                <a:spcPts val="0"/>
              </a:spcBef>
              <a:spcAft>
                <a:spcPts val="600"/>
              </a:spcAft>
              <a:tabLst/>
              <a:defRPr/>
            </a:lvl4pPr>
            <a:lvl5pPr marL="1492250" indent="-120650">
              <a:spcBef>
                <a:spcPts val="0"/>
              </a:spcBef>
              <a:spcAft>
                <a:spcPts val="600"/>
              </a:spcAft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4">
            <a:extLst>
              <a:ext uri="{FF2B5EF4-FFF2-40B4-BE49-F238E27FC236}">
                <a16:creationId xmlns:a16="http://schemas.microsoft.com/office/drawing/2014/main" id="{4DDF8964-5CB2-04E2-E076-ED5D6AF3D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288FA8-512D-2C4A-B343-D12C9DEC1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3286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+ Tex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138B46-F5A4-346A-577A-78F9C64F7F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400"/>
              </a:spcAft>
              <a:buFontTx/>
              <a:buNone/>
              <a:defRPr b="1">
                <a:solidFill>
                  <a:schemeClr val="tx2"/>
                </a:solidFill>
              </a:defRPr>
            </a:lvl1pPr>
            <a:lvl2pPr marL="463550" indent="-455613">
              <a:spcBef>
                <a:spcPts val="0"/>
              </a:spcBef>
              <a:spcAft>
                <a:spcPts val="1200"/>
              </a:spcAft>
              <a:buNone/>
              <a:tabLst/>
              <a:defRPr/>
            </a:lvl2pPr>
            <a:lvl3pPr marL="630238" indent="-168275">
              <a:spcBef>
                <a:spcPts val="0"/>
              </a:spcBef>
              <a:spcAft>
                <a:spcPts val="600"/>
              </a:spcAft>
              <a:tabLst/>
              <a:defRPr/>
            </a:lvl3pPr>
            <a:lvl4pPr marL="1093788" indent="-176213">
              <a:spcBef>
                <a:spcPts val="0"/>
              </a:spcBef>
              <a:spcAft>
                <a:spcPts val="600"/>
              </a:spcAft>
              <a:tabLst/>
              <a:defRPr/>
            </a:lvl4pPr>
            <a:lvl5pPr marL="1492250" indent="-120650">
              <a:spcBef>
                <a:spcPts val="0"/>
              </a:spcBef>
              <a:spcAft>
                <a:spcPts val="600"/>
              </a:spcAft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4">
            <a:extLst>
              <a:ext uri="{FF2B5EF4-FFF2-40B4-BE49-F238E27FC236}">
                <a16:creationId xmlns:a16="http://schemas.microsoft.com/office/drawing/2014/main" id="{4DDF8964-5CB2-04E2-E076-ED5D6AF3D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288FA8-512D-2C4A-B343-D12C9DEC1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441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+ Takeaway + Background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13C233-E613-37BE-2CDE-78054926FE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AF9E7AC-0A05-23BF-4253-7FD6AB060B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6800" y="6344730"/>
            <a:ext cx="9855200" cy="520700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B868D23-DCD1-B435-E9AD-EB014B1A04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21280" y="6355124"/>
            <a:ext cx="9049978" cy="493351"/>
          </a:xfrm>
        </p:spPr>
        <p:txBody>
          <a:bodyPr anchor="ctr" anchorCtr="0"/>
          <a:lstStyle>
            <a:lvl1pPr marL="0" indent="0">
              <a:buNone/>
              <a:defRPr sz="1700" b="1" i="1">
                <a:solidFill>
                  <a:srgbClr val="002F6C"/>
                </a:solidFill>
              </a:defRPr>
            </a:lvl1pPr>
            <a:lvl2pPr marL="463550" indent="0">
              <a:buNone/>
              <a:defRPr/>
            </a:lvl2pPr>
            <a:lvl3pPr marL="914400" indent="0">
              <a:buNone/>
              <a:defRPr/>
            </a:lvl3pPr>
            <a:lvl4pPr marL="132397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4499669-1857-A962-818B-CF3E6B6F0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lide Number Placeholder 14">
            <a:extLst>
              <a:ext uri="{FF2B5EF4-FFF2-40B4-BE49-F238E27FC236}">
                <a16:creationId xmlns:a16="http://schemas.microsoft.com/office/drawing/2014/main" id="{C8771782-DEFD-6509-14FD-A2B26FE513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EFBE62-97DA-F4E0-BB95-A42893357FC5}"/>
              </a:ext>
            </a:extLst>
          </p:cNvPr>
          <p:cNvSpPr txBox="1"/>
          <p:nvPr/>
        </p:nvSpPr>
        <p:spPr>
          <a:xfrm rot="16200000" flipH="1">
            <a:off x="10733673" y="4913646"/>
            <a:ext cx="2461933" cy="1946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600"/>
              </a:lnSpc>
            </a:pPr>
            <a:r>
              <a:rPr lang="en-US" sz="667" b="0" i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4 Regal Rexnord Corporation, Proprietary and 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7E2BF5-41DE-078D-218E-2CC5453A5E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88011"/>
          <a:stretch/>
        </p:blipFill>
        <p:spPr>
          <a:xfrm>
            <a:off x="0" y="0"/>
            <a:ext cx="12188952" cy="94488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CD310E8-B739-CDCC-3F1D-A2370DA9F5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01DB8C-DBF6-D34C-82C0-93E074B646B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61533" y="6492415"/>
            <a:ext cx="1651477" cy="234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211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+ Background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13C233-E613-37BE-2CDE-78054926FE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AB118EF-078B-59AA-B14B-0936F4D7B0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88011"/>
          <a:stretch/>
        </p:blipFill>
        <p:spPr>
          <a:xfrm>
            <a:off x="0" y="0"/>
            <a:ext cx="12188952" cy="944880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4499669-1857-A962-818B-CF3E6B6F0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97280"/>
            <a:ext cx="1116584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8D81BB-4186-86E1-2400-2573A0E8779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61533" y="6492415"/>
            <a:ext cx="1651477" cy="234417"/>
          </a:xfrm>
          <a:prstGeom prst="rect">
            <a:avLst/>
          </a:prstGeom>
        </p:spPr>
      </p:pic>
      <p:sp>
        <p:nvSpPr>
          <p:cNvPr id="2" name="Slide Number Placeholder 14">
            <a:extLst>
              <a:ext uri="{FF2B5EF4-FFF2-40B4-BE49-F238E27FC236}">
                <a16:creationId xmlns:a16="http://schemas.microsoft.com/office/drawing/2014/main" id="{C8771782-DEFD-6509-14FD-A2B26FE513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EFBE62-97DA-F4E0-BB95-A42893357FC5}"/>
              </a:ext>
            </a:extLst>
          </p:cNvPr>
          <p:cNvSpPr txBox="1"/>
          <p:nvPr/>
        </p:nvSpPr>
        <p:spPr>
          <a:xfrm rot="16200000" flipH="1">
            <a:off x="10733673" y="4913646"/>
            <a:ext cx="2461933" cy="1946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600"/>
              </a:lnSpc>
            </a:pPr>
            <a:r>
              <a:rPr lang="en-US" sz="667" b="0" i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4 Regal Rexnord Corporation, Proprietary and Confidentia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27BE5FD-8BD8-87B9-76D4-58F9D3C049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1920"/>
            <a:ext cx="11210850" cy="76408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49117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+ Takeawa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6A8BD-D98D-49BB-ADDB-17556286B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1920"/>
            <a:ext cx="11134165" cy="76408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321DE3-C193-4199-8994-10077CBD0CC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199" y="1097280"/>
            <a:ext cx="11134165" cy="5212080"/>
          </a:xfrm>
        </p:spPr>
        <p:txBody>
          <a:bodyPr/>
          <a:lstStyle>
            <a:lvl1pPr marL="171450" indent="-171450">
              <a:buClr>
                <a:schemeClr val="accent2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5DB379-4596-7B83-D1CF-798953FDFE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800" y="6339013"/>
            <a:ext cx="9855200" cy="5207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395B47-1D28-6CF3-E2F6-778CD5C32F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21280" y="6348573"/>
            <a:ext cx="8924850" cy="493351"/>
          </a:xfrm>
        </p:spPr>
        <p:txBody>
          <a:bodyPr anchor="ctr" anchorCtr="0"/>
          <a:lstStyle>
            <a:lvl1pPr marL="0" indent="0">
              <a:buNone/>
              <a:defRPr sz="1700" b="1" i="1">
                <a:solidFill>
                  <a:srgbClr val="002F6C"/>
                </a:solidFill>
              </a:defRPr>
            </a:lvl1pPr>
            <a:lvl2pPr marL="463550" indent="0">
              <a:buNone/>
              <a:defRPr/>
            </a:lvl2pPr>
            <a:lvl3pPr marL="914400" indent="0">
              <a:buNone/>
              <a:defRPr/>
            </a:lvl3pPr>
            <a:lvl4pPr marL="132397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14">
            <a:extLst>
              <a:ext uri="{FF2B5EF4-FFF2-40B4-BE49-F238E27FC236}">
                <a16:creationId xmlns:a16="http://schemas.microsoft.com/office/drawing/2014/main" id="{3153BF33-4EFC-9B1C-4D7F-5CCC3AF9AF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8609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6A8BD-D98D-49BB-ADDB-17556286B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1920"/>
            <a:ext cx="11134165" cy="76408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321DE3-C193-4199-8994-10077CBD0CC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199" y="1097280"/>
            <a:ext cx="11134165" cy="5216894"/>
          </a:xfrm>
        </p:spPr>
        <p:txBody>
          <a:bodyPr/>
          <a:lstStyle>
            <a:lvl1pPr marL="171450" indent="-171450">
              <a:buClr>
                <a:schemeClr val="accent2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14">
            <a:extLst>
              <a:ext uri="{FF2B5EF4-FFF2-40B4-BE49-F238E27FC236}">
                <a16:creationId xmlns:a16="http://schemas.microsoft.com/office/drawing/2014/main" id="{98C1EF47-3D82-EC9A-B3F9-5870E6A028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61388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+ Text + Takeawa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9B2791C-94D7-DBCB-348C-472328D4B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21920"/>
            <a:ext cx="11134165" cy="76408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496BC6-BC6A-16C2-E931-0387DC6B64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800" y="6339013"/>
            <a:ext cx="9855200" cy="520700"/>
          </a:xfrm>
          <a:prstGeom prst="rect">
            <a:avLst/>
          </a:prstGeom>
        </p:spPr>
      </p:pic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E8544CD-CD6B-555E-ADA9-FA4C73C7D5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21280" y="6348573"/>
            <a:ext cx="8924850" cy="493351"/>
          </a:xfrm>
        </p:spPr>
        <p:txBody>
          <a:bodyPr anchor="ctr" anchorCtr="0"/>
          <a:lstStyle>
            <a:lvl1pPr marL="0" indent="0">
              <a:buNone/>
              <a:defRPr sz="1700" b="1" i="1">
                <a:solidFill>
                  <a:srgbClr val="002F6C"/>
                </a:solidFill>
              </a:defRPr>
            </a:lvl1pPr>
            <a:lvl2pPr marL="463550" indent="0">
              <a:buNone/>
              <a:defRPr/>
            </a:lvl2pPr>
            <a:lvl3pPr marL="914400" indent="0">
              <a:buNone/>
              <a:defRPr/>
            </a:lvl3pPr>
            <a:lvl4pPr marL="132397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ECA8D0FE-7A2E-7AB2-13C4-C204493EBD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01DE167-9B9A-C695-7D9A-D3E4C060A9E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400"/>
              </a:spcAft>
              <a:buFontTx/>
              <a:buNone/>
              <a:defRPr b="1">
                <a:solidFill>
                  <a:schemeClr val="accent2"/>
                </a:solidFill>
              </a:defRPr>
            </a:lvl1pPr>
            <a:lvl2pPr marL="463550" indent="-455613">
              <a:spcBef>
                <a:spcPts val="0"/>
              </a:spcBef>
              <a:spcAft>
                <a:spcPts val="1200"/>
              </a:spcAft>
              <a:buNone/>
              <a:tabLst/>
              <a:defRPr>
                <a:solidFill>
                  <a:schemeClr val="bg1"/>
                </a:solidFill>
              </a:defRPr>
            </a:lvl2pPr>
            <a:lvl3pPr marL="630238" indent="-168275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3pPr>
            <a:lvl4pPr marL="1093788" indent="-176213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4pPr>
            <a:lvl5pPr marL="1492250" indent="-120650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944768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Title Slide Light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3FAD95-7B5F-0216-6D4A-BB66FB558EB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B6FAA2-E942-D0CD-2306-36CE30B0DE2A}"/>
              </a:ext>
            </a:extLst>
          </p:cNvPr>
          <p:cNvPicPr>
            <a:picLocks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5C644F-977E-3DCC-F271-7A799E49FA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642" y="2087309"/>
            <a:ext cx="5295567" cy="208638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spc="0">
                <a:solidFill>
                  <a:srgbClr val="002F6C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961467E-CCB4-C102-5AD5-62DE2DA649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373001"/>
            <a:ext cx="4090515" cy="19006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CD51AB-1E3D-BBB0-5EED-B38ECC90E66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78457" y="588062"/>
            <a:ext cx="4488697" cy="911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7233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+ Tex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49B2791C-94D7-DBCB-348C-472328D4B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21920"/>
            <a:ext cx="11134165" cy="76408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14">
            <a:extLst>
              <a:ext uri="{FF2B5EF4-FFF2-40B4-BE49-F238E27FC236}">
                <a16:creationId xmlns:a16="http://schemas.microsoft.com/office/drawing/2014/main" id="{ECA8D0FE-7A2E-7AB2-13C4-C204493EBD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800" y="6440764"/>
            <a:ext cx="457200" cy="317199"/>
          </a:xfrm>
          <a:prstGeom prst="rect">
            <a:avLst/>
          </a:prstGeom>
        </p:spPr>
        <p:txBody>
          <a:bodyPr/>
          <a:lstStyle>
            <a:lvl1pPr algn="ctr">
              <a:defRPr sz="1067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927F3BD-EB56-714B-8AE1-FA405B1C99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01DE167-9B9A-C695-7D9A-D3E4C060A9E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57200" y="1097280"/>
            <a:ext cx="1121085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spcAft>
                <a:spcPts val="400"/>
              </a:spcAft>
              <a:buFontTx/>
              <a:buNone/>
              <a:defRPr b="1">
                <a:solidFill>
                  <a:schemeClr val="accent2"/>
                </a:solidFill>
              </a:defRPr>
            </a:lvl1pPr>
            <a:lvl2pPr marL="463550" indent="-455613">
              <a:spcBef>
                <a:spcPts val="0"/>
              </a:spcBef>
              <a:spcAft>
                <a:spcPts val="1200"/>
              </a:spcAft>
              <a:buNone/>
              <a:tabLst/>
              <a:defRPr>
                <a:solidFill>
                  <a:schemeClr val="bg1"/>
                </a:solidFill>
              </a:defRPr>
            </a:lvl2pPr>
            <a:lvl3pPr marL="630238" indent="-168275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3pPr>
            <a:lvl4pPr marL="1093788" indent="-176213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4pPr>
            <a:lvl5pPr marL="1492250" indent="-120650">
              <a:spcBef>
                <a:spcPts val="0"/>
              </a:spcBef>
              <a:spcAft>
                <a:spcPts val="600"/>
              </a:spcAft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566285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7352F1C-AA23-4B5F-E095-A384C3D39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1CF54BF-C5B3-E62C-8FE4-A8F71D240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640" y="1553437"/>
            <a:ext cx="8941723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spc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320D05-30FF-1507-4581-000FE1177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199237"/>
            <a:ext cx="8941722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2218CF7-CB56-2B34-C94A-4C36955299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39" y="888347"/>
            <a:ext cx="2764577" cy="39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0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_No logo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7DF6FA9-D22B-2960-D362-6738108A5F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36" y="0"/>
            <a:ext cx="12192001" cy="6858000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4919D1F6-08BB-DD6C-B3F1-A656BED76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194957"/>
            <a:ext cx="8941722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2A7FF35-82D9-91B8-1EE0-49BE17FFA2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641" y="1553437"/>
            <a:ext cx="8941722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spc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466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2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3FAD95-7B5F-0216-6D4A-BB66FB558EB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B6FAA2-E942-D0CD-2306-36CE30B0DE2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2218CF7-CB56-2B34-C94A-4C36955299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932" y="888347"/>
            <a:ext cx="2743990" cy="39036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9946F7B-2FBD-BE1F-6CD2-30B7A32E52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640" y="1553437"/>
            <a:ext cx="8941723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cap="all" spc="0" baseline="0">
                <a:solidFill>
                  <a:srgbClr val="002F6C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C515B7D-198F-1505-5FF0-A2D56B5FCF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199237"/>
            <a:ext cx="8941722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rgbClr val="7EBF49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298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2_No logo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3FAD95-7B5F-0216-6D4A-BB66FB558EB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B6FAA2-E942-D0CD-2306-36CE30B0DE2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9946F7B-2FBD-BE1F-6CD2-30B7A32E52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640" y="1553437"/>
            <a:ext cx="8941723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cap="all" spc="0" baseline="0">
                <a:solidFill>
                  <a:srgbClr val="002F6C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C515B7D-198F-1505-5FF0-A2D56B5FCF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199237"/>
            <a:ext cx="8941722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rgbClr val="7EBF49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85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8D2F64-B14A-02AC-305E-88840DE5365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A012CA7-034C-D696-6C1C-D37D84334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0276" y="0"/>
            <a:ext cx="7200266" cy="68580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7FCC7B3-3892-1276-C670-B3E652302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8160" y="0"/>
            <a:ext cx="7200266" cy="6858000"/>
          </a:xfrm>
          <a:prstGeom prst="rect">
            <a:avLst/>
          </a:prstGeom>
        </p:spPr>
      </p:pic>
      <p:sp>
        <p:nvSpPr>
          <p:cNvPr id="39" name="Picture Placeholder 16">
            <a:extLst>
              <a:ext uri="{FF2B5EF4-FFF2-40B4-BE49-F238E27FC236}">
                <a16:creationId xmlns:a16="http://schemas.microsoft.com/office/drawing/2014/main" id="{B470FB35-D609-ADC3-A4B5-2F467CD114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14863" y="0"/>
            <a:ext cx="7329622" cy="6858000"/>
          </a:xfrm>
          <a:custGeom>
            <a:avLst/>
            <a:gdLst>
              <a:gd name="connsiteX0" fmla="*/ 2636806 w 6779141"/>
              <a:gd name="connsiteY0" fmla="*/ 0 h 6342940"/>
              <a:gd name="connsiteX1" fmla="*/ 5153662 w 6779141"/>
              <a:gd name="connsiteY1" fmla="*/ 0 h 6342940"/>
              <a:gd name="connsiteX2" fmla="*/ 6779141 w 6779141"/>
              <a:gd name="connsiteY2" fmla="*/ 0 h 6342940"/>
              <a:gd name="connsiteX3" fmla="*/ 5940189 w 6779141"/>
              <a:gd name="connsiteY3" fmla="*/ 4759582 h 6342940"/>
              <a:gd name="connsiteX4" fmla="*/ 5936687 w 6779141"/>
              <a:gd name="connsiteY4" fmla="*/ 4759582 h 6342940"/>
              <a:gd name="connsiteX5" fmla="*/ 5917981 w 6779141"/>
              <a:gd name="connsiteY5" fmla="*/ 4882754 h 6342940"/>
              <a:gd name="connsiteX6" fmla="*/ 4135130 w 6779141"/>
              <a:gd name="connsiteY6" fmla="*/ 6342940 h 6342940"/>
              <a:gd name="connsiteX7" fmla="*/ 4084150 w 6779141"/>
              <a:gd name="connsiteY7" fmla="*/ 6339829 h 6342940"/>
              <a:gd name="connsiteX8" fmla="*/ 4083602 w 6779141"/>
              <a:gd name="connsiteY8" fmla="*/ 6342940 h 6342940"/>
              <a:gd name="connsiteX9" fmla="*/ 2516856 w 6779141"/>
              <a:gd name="connsiteY9" fmla="*/ 6342940 h 6342940"/>
              <a:gd name="connsiteX10" fmla="*/ 1566746 w 6779141"/>
              <a:gd name="connsiteY10" fmla="*/ 6342940 h 6342940"/>
              <a:gd name="connsiteX11" fmla="*/ 0 w 6779141"/>
              <a:gd name="connsiteY11" fmla="*/ 6342940 h 6342940"/>
              <a:gd name="connsiteX12" fmla="*/ 838952 w 6779141"/>
              <a:gd name="connsiteY12" fmla="*/ 1583358 h 6342940"/>
              <a:gd name="connsiteX13" fmla="*/ 840902 w 6779141"/>
              <a:gd name="connsiteY13" fmla="*/ 1583358 h 6342940"/>
              <a:gd name="connsiteX14" fmla="*/ 855245 w 6779141"/>
              <a:gd name="connsiteY14" fmla="*/ 1482557 h 6342940"/>
              <a:gd name="connsiteX15" fmla="*/ 2456440 w 6779141"/>
              <a:gd name="connsiteY15" fmla="*/ 9442 h 6342940"/>
              <a:gd name="connsiteX16" fmla="*/ 2636755 w 6779141"/>
              <a:gd name="connsiteY16" fmla="*/ 292 h 634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779141" h="6342940">
                <a:moveTo>
                  <a:pt x="2636806" y="0"/>
                </a:moveTo>
                <a:lnTo>
                  <a:pt x="5153662" y="0"/>
                </a:lnTo>
                <a:lnTo>
                  <a:pt x="6779141" y="0"/>
                </a:lnTo>
                <a:lnTo>
                  <a:pt x="5940189" y="4759582"/>
                </a:lnTo>
                <a:lnTo>
                  <a:pt x="5936687" y="4759582"/>
                </a:lnTo>
                <a:lnTo>
                  <a:pt x="5917981" y="4882754"/>
                </a:lnTo>
                <a:cubicBezTo>
                  <a:pt x="5748289" y="5716080"/>
                  <a:pt x="5014558" y="6342940"/>
                  <a:pt x="4135130" y="6342940"/>
                </a:cubicBezTo>
                <a:lnTo>
                  <a:pt x="4084150" y="6339829"/>
                </a:lnTo>
                <a:lnTo>
                  <a:pt x="4083602" y="6342940"/>
                </a:lnTo>
                <a:lnTo>
                  <a:pt x="2516856" y="6342940"/>
                </a:lnTo>
                <a:lnTo>
                  <a:pt x="1566746" y="6342940"/>
                </a:lnTo>
                <a:lnTo>
                  <a:pt x="0" y="6342940"/>
                </a:lnTo>
                <a:lnTo>
                  <a:pt x="838952" y="1583358"/>
                </a:lnTo>
                <a:lnTo>
                  <a:pt x="840902" y="1583358"/>
                </a:lnTo>
                <a:lnTo>
                  <a:pt x="855245" y="1482557"/>
                </a:lnTo>
                <a:cubicBezTo>
                  <a:pt x="1004857" y="697889"/>
                  <a:pt x="1653490" y="91386"/>
                  <a:pt x="2456440" y="9442"/>
                </a:cubicBezTo>
                <a:lnTo>
                  <a:pt x="2636755" y="292"/>
                </a:lnTo>
                <a:close/>
              </a:path>
            </a:pathLst>
          </a:custGeom>
        </p:spPr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560684F-1CE2-ECAB-3C51-C9A7349F42E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39" y="888347"/>
            <a:ext cx="2764577" cy="39036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6B27A4C-2C7A-CA3C-B294-BA72DFE3DF8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642" y="1874277"/>
            <a:ext cx="4195578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cap="all" spc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3B2F29D-4FE8-5056-4C86-FF3AD6AD0C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1000" y="4520077"/>
            <a:ext cx="3829518" cy="14495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rgbClr val="7EBF49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392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4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7DF6FA9-D22B-2960-D362-6738108A5FE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36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BE2862-7A23-0826-E377-AE7EBB70C3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641" y="1874277"/>
            <a:ext cx="5617839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4800"/>
              </a:lnSpc>
              <a:defRPr sz="4800" b="0" i="0" spc="-15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474B57-61C1-B398-232A-5195180D0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520077"/>
            <a:ext cx="5547359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8C639E0D-B043-DFDF-62BC-E2093ACADC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66480" y="888347"/>
            <a:ext cx="5700817" cy="5334000"/>
          </a:xfrm>
          <a:custGeom>
            <a:avLst/>
            <a:gdLst>
              <a:gd name="connsiteX0" fmla="*/ 2636806 w 6779141"/>
              <a:gd name="connsiteY0" fmla="*/ 0 h 6342940"/>
              <a:gd name="connsiteX1" fmla="*/ 5153662 w 6779141"/>
              <a:gd name="connsiteY1" fmla="*/ 0 h 6342940"/>
              <a:gd name="connsiteX2" fmla="*/ 6779141 w 6779141"/>
              <a:gd name="connsiteY2" fmla="*/ 0 h 6342940"/>
              <a:gd name="connsiteX3" fmla="*/ 5940189 w 6779141"/>
              <a:gd name="connsiteY3" fmla="*/ 4759582 h 6342940"/>
              <a:gd name="connsiteX4" fmla="*/ 5936687 w 6779141"/>
              <a:gd name="connsiteY4" fmla="*/ 4759582 h 6342940"/>
              <a:gd name="connsiteX5" fmla="*/ 5917981 w 6779141"/>
              <a:gd name="connsiteY5" fmla="*/ 4882754 h 6342940"/>
              <a:gd name="connsiteX6" fmla="*/ 4135130 w 6779141"/>
              <a:gd name="connsiteY6" fmla="*/ 6342940 h 6342940"/>
              <a:gd name="connsiteX7" fmla="*/ 4084150 w 6779141"/>
              <a:gd name="connsiteY7" fmla="*/ 6339829 h 6342940"/>
              <a:gd name="connsiteX8" fmla="*/ 4083602 w 6779141"/>
              <a:gd name="connsiteY8" fmla="*/ 6342940 h 6342940"/>
              <a:gd name="connsiteX9" fmla="*/ 2516856 w 6779141"/>
              <a:gd name="connsiteY9" fmla="*/ 6342940 h 6342940"/>
              <a:gd name="connsiteX10" fmla="*/ 1566746 w 6779141"/>
              <a:gd name="connsiteY10" fmla="*/ 6342940 h 6342940"/>
              <a:gd name="connsiteX11" fmla="*/ 0 w 6779141"/>
              <a:gd name="connsiteY11" fmla="*/ 6342940 h 6342940"/>
              <a:gd name="connsiteX12" fmla="*/ 838952 w 6779141"/>
              <a:gd name="connsiteY12" fmla="*/ 1583358 h 6342940"/>
              <a:gd name="connsiteX13" fmla="*/ 840902 w 6779141"/>
              <a:gd name="connsiteY13" fmla="*/ 1583358 h 6342940"/>
              <a:gd name="connsiteX14" fmla="*/ 855245 w 6779141"/>
              <a:gd name="connsiteY14" fmla="*/ 1482557 h 6342940"/>
              <a:gd name="connsiteX15" fmla="*/ 2456440 w 6779141"/>
              <a:gd name="connsiteY15" fmla="*/ 9442 h 6342940"/>
              <a:gd name="connsiteX16" fmla="*/ 2636755 w 6779141"/>
              <a:gd name="connsiteY16" fmla="*/ 292 h 6342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779141" h="6342940">
                <a:moveTo>
                  <a:pt x="2636806" y="0"/>
                </a:moveTo>
                <a:lnTo>
                  <a:pt x="5153662" y="0"/>
                </a:lnTo>
                <a:lnTo>
                  <a:pt x="6779141" y="0"/>
                </a:lnTo>
                <a:lnTo>
                  <a:pt x="5940189" y="4759582"/>
                </a:lnTo>
                <a:lnTo>
                  <a:pt x="5936687" y="4759582"/>
                </a:lnTo>
                <a:lnTo>
                  <a:pt x="5917981" y="4882754"/>
                </a:lnTo>
                <a:cubicBezTo>
                  <a:pt x="5748289" y="5716080"/>
                  <a:pt x="5014558" y="6342940"/>
                  <a:pt x="4135130" y="6342940"/>
                </a:cubicBezTo>
                <a:lnTo>
                  <a:pt x="4084150" y="6339829"/>
                </a:lnTo>
                <a:lnTo>
                  <a:pt x="4083602" y="6342940"/>
                </a:lnTo>
                <a:lnTo>
                  <a:pt x="2516856" y="6342940"/>
                </a:lnTo>
                <a:lnTo>
                  <a:pt x="1566746" y="6342940"/>
                </a:lnTo>
                <a:lnTo>
                  <a:pt x="0" y="6342940"/>
                </a:lnTo>
                <a:lnTo>
                  <a:pt x="838952" y="1583358"/>
                </a:lnTo>
                <a:lnTo>
                  <a:pt x="840902" y="1583358"/>
                </a:lnTo>
                <a:lnTo>
                  <a:pt x="855245" y="1482557"/>
                </a:lnTo>
                <a:cubicBezTo>
                  <a:pt x="1004857" y="697889"/>
                  <a:pt x="1653490" y="91386"/>
                  <a:pt x="2456440" y="9442"/>
                </a:cubicBezTo>
                <a:lnTo>
                  <a:pt x="2636755" y="292"/>
                </a:lnTo>
                <a:close/>
              </a:path>
            </a:pathLst>
          </a:custGeom>
          <a:ln w="12700">
            <a:solidFill>
              <a:schemeClr val="bg1"/>
            </a:solidFill>
          </a:ln>
        </p:spPr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C758A2-2A97-5C5F-1112-F0BEBCBD0E2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39" y="888347"/>
            <a:ext cx="2764577" cy="39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6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5">
    <p:bg>
      <p:bgPr>
        <a:solidFill>
          <a:srgbClr val="0028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838D98A-84C4-84BC-44C2-D87FAA713EC6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7EBF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DC5C59-4D53-1638-3B1A-C610524FEA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8" r="11155" b="5739"/>
          <a:stretch/>
        </p:blipFill>
        <p:spPr>
          <a:xfrm>
            <a:off x="4795673" y="-1"/>
            <a:ext cx="7396328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1CF54BF-C5B3-E62C-8FE4-A8F71D240A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640" y="1553437"/>
            <a:ext cx="8023859" cy="243655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800" b="0" i="0" cap="all" spc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2320D05-30FF-1507-4581-000FE1177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0998" y="4199237"/>
            <a:ext cx="8023858" cy="982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0" i="0">
                <a:solidFill>
                  <a:srgbClr val="002F6C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2D09202-D6B8-D1E2-2C90-A128330BAD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398" y="858203"/>
            <a:ext cx="2808775" cy="43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00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5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4.xml"/><Relationship Id="rId5" Type="http://schemas.openxmlformats.org/officeDocument/2006/relationships/theme" Target="../theme/theme4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3E052B2-0226-4895-87AA-D259C5D2EA66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55567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3E052B2-0226-4895-87AA-D259C5D2E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464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7" r:id="rId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all" baseline="0">
          <a:solidFill>
            <a:schemeClr val="bg1"/>
          </a:solidFill>
          <a:latin typeface="Lexend Medium" pitchFamily="2" charset="77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800"/>
        </a:spcBef>
        <a:buClr>
          <a:srgbClr val="72B840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-137160" algn="l" defTabSz="914400" rtl="0" eaLnBrk="1" latinLnBrk="0" hangingPunct="1">
        <a:lnSpc>
          <a:spcPct val="90000"/>
        </a:lnSpc>
        <a:spcBef>
          <a:spcPts val="1200"/>
        </a:spcBef>
        <a:buClr>
          <a:srgbClr val="72B840"/>
        </a:buClr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-137160" algn="l" defTabSz="914400" rtl="0" eaLnBrk="1" latinLnBrk="0" hangingPunct="1">
        <a:lnSpc>
          <a:spcPct val="90000"/>
        </a:lnSpc>
        <a:spcBef>
          <a:spcPts val="800"/>
        </a:spcBef>
        <a:buClr>
          <a:srgbClr val="72B840"/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-137160" algn="l" defTabSz="914400" rtl="0" eaLnBrk="1" latinLnBrk="0" hangingPunct="1">
        <a:lnSpc>
          <a:spcPct val="90000"/>
        </a:lnSpc>
        <a:spcBef>
          <a:spcPts val="500"/>
        </a:spcBef>
        <a:buClr>
          <a:srgbClr val="72B840"/>
        </a:buClr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-137160" algn="l" defTabSz="914400" rtl="0" eaLnBrk="1" latinLnBrk="0" hangingPunct="1">
        <a:lnSpc>
          <a:spcPct val="90000"/>
        </a:lnSpc>
        <a:spcBef>
          <a:spcPts val="500"/>
        </a:spcBef>
        <a:buClr>
          <a:srgbClr val="72B840"/>
        </a:buClr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6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3E052B2-0226-4895-87AA-D259C5D2EA6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55567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3E052B2-0226-4895-87AA-D259C5D2E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3023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33" r:id="rId2"/>
    <p:sldLayoutId id="2147483924" r:id="rId3"/>
    <p:sldLayoutId id="2147483932" r:id="rId4"/>
    <p:sldLayoutId id="2147483925" r:id="rId5"/>
    <p:sldLayoutId id="2147483926" r:id="rId6"/>
    <p:sldLayoutId id="2147483927" r:id="rId7"/>
    <p:sldLayoutId id="2147483928" r:id="rId8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all" baseline="0">
          <a:solidFill>
            <a:schemeClr val="bg1"/>
          </a:solidFill>
          <a:latin typeface="Lexend Medium" pitchFamily="2" charset="77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800"/>
        </a:spcBef>
        <a:buClr>
          <a:srgbClr val="72B840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457200" indent="-137160" algn="l" defTabSz="914400" rtl="0" eaLnBrk="1" latinLnBrk="0" hangingPunct="1">
        <a:lnSpc>
          <a:spcPct val="90000"/>
        </a:lnSpc>
        <a:spcBef>
          <a:spcPts val="1200"/>
        </a:spcBef>
        <a:buClr>
          <a:srgbClr val="72B840"/>
        </a:buClr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914400" indent="-137160" algn="l" defTabSz="914400" rtl="0" eaLnBrk="1" latinLnBrk="0" hangingPunct="1">
        <a:lnSpc>
          <a:spcPct val="90000"/>
        </a:lnSpc>
        <a:spcBef>
          <a:spcPts val="800"/>
        </a:spcBef>
        <a:buClr>
          <a:srgbClr val="72B840"/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371600" indent="-137160" algn="l" defTabSz="914400" rtl="0" eaLnBrk="1" latinLnBrk="0" hangingPunct="1">
        <a:lnSpc>
          <a:spcPct val="90000"/>
        </a:lnSpc>
        <a:spcBef>
          <a:spcPts val="500"/>
        </a:spcBef>
        <a:buClr>
          <a:srgbClr val="72B840"/>
        </a:buClr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-137160" algn="l" defTabSz="914400" rtl="0" eaLnBrk="1" latinLnBrk="0" hangingPunct="1">
        <a:lnSpc>
          <a:spcPct val="90000"/>
        </a:lnSpc>
        <a:spcBef>
          <a:spcPts val="500"/>
        </a:spcBef>
        <a:buClr>
          <a:srgbClr val="72B840"/>
        </a:buClr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6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CFE20F-C4F7-C681-7459-5670E429995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88011"/>
          <a:stretch/>
        </p:blipFill>
        <p:spPr>
          <a:xfrm>
            <a:off x="0" y="0"/>
            <a:ext cx="12188952" cy="94488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AA4E541-E00E-4C85-87F3-7F97B41E1B04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1773716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AA4E541-E00E-4C85-87F3-7F97B41E1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74BC-4835-661D-FBD8-FF169509AF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1097280"/>
            <a:ext cx="11165840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B49C8F-607B-5DA8-1993-B905F12B1F9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461533" y="6492415"/>
            <a:ext cx="1651477" cy="2344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3BEEB2-7FB8-987A-926E-6C0E9F6210E0}"/>
              </a:ext>
            </a:extLst>
          </p:cNvPr>
          <p:cNvSpPr txBox="1"/>
          <p:nvPr/>
        </p:nvSpPr>
        <p:spPr>
          <a:xfrm rot="16200000" flipH="1">
            <a:off x="10733673" y="4913646"/>
            <a:ext cx="2461933" cy="1946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600"/>
              </a:lnSpc>
            </a:pPr>
            <a:r>
              <a:rPr lang="en-US" sz="667" b="0" i="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4 Regal Rexnord Corporation,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0644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929" r:id="rId2"/>
    <p:sldLayoutId id="2147483682" r:id="rId3"/>
    <p:sldLayoutId id="2147483934" r:id="rId4"/>
    <p:sldLayoutId id="2147483931" r:id="rId5"/>
    <p:sldLayoutId id="2147483891" r:id="rId6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1219170" rtl="0" eaLnBrk="1" latinLnBrk="0" hangingPunct="1">
        <a:lnSpc>
          <a:spcPct val="90000"/>
        </a:lnSpc>
        <a:spcBef>
          <a:spcPts val="1333"/>
        </a:spcBef>
        <a:buClr>
          <a:srgbClr val="72B840"/>
        </a:buClr>
        <a:buSzPct val="110000"/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41350" indent="-17780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92200" indent="-17780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87488" indent="-163513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952625" indent="-123825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20C45A5-8752-EFBE-72DF-94F7F71ACF4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3E052B2-0226-4895-87AA-D259C5D2EA66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55567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3E052B2-0226-4895-87AA-D259C5D2E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4567E-C147-EF9E-0F05-49B52D6B8F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097279"/>
            <a:ext cx="11134165" cy="52120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64C058-9D35-4513-9110-A8025FEF9ED2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457202" y="6461951"/>
            <a:ext cx="1660140" cy="23441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DDB4471-1AE2-602C-1A23-70CC164E8B94}"/>
              </a:ext>
            </a:extLst>
          </p:cNvPr>
          <p:cNvSpPr txBox="1"/>
          <p:nvPr/>
        </p:nvSpPr>
        <p:spPr>
          <a:xfrm rot="16200000" flipH="1">
            <a:off x="10733673" y="4913646"/>
            <a:ext cx="2461933" cy="1946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>
              <a:lnSpc>
                <a:spcPts val="600"/>
              </a:lnSpc>
            </a:pPr>
            <a:r>
              <a:rPr lang="en-US" sz="667" b="0" i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4 Regal Rexnord Corporation, Proprietary and Confidentia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9671A2FC-EDE5-6EC7-2CA0-7D9DCD248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1920"/>
            <a:ext cx="11134165" cy="76408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2354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30" r:id="rId2"/>
    <p:sldLayoutId id="2147483916" r:id="rId3"/>
    <p:sldLayoutId id="2147483935" r:id="rId4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800"/>
        </a:spcBef>
        <a:buClr>
          <a:srgbClr val="72B840"/>
        </a:buClr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1pPr>
      <a:lvl2pPr marL="457200" indent="-137160" algn="l" defTabSz="914400" rtl="0" eaLnBrk="1" latinLnBrk="0" hangingPunct="1">
        <a:lnSpc>
          <a:spcPct val="90000"/>
        </a:lnSpc>
        <a:spcBef>
          <a:spcPts val="1200"/>
        </a:spcBef>
        <a:buClr>
          <a:srgbClr val="72B840"/>
        </a:buClr>
        <a:buFont typeface="Arial" panose="020B0604020202020204" pitchFamily="34" charset="0"/>
        <a:buChar char="•"/>
        <a:defRPr sz="1600" b="0" i="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2pPr>
      <a:lvl3pPr marL="914400" indent="-137160" algn="l" defTabSz="914400" rtl="0" eaLnBrk="1" latinLnBrk="0" hangingPunct="1">
        <a:lnSpc>
          <a:spcPct val="90000"/>
        </a:lnSpc>
        <a:spcBef>
          <a:spcPts val="8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400" b="0" i="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3pPr>
      <a:lvl4pPr marL="1371600" indent="-13716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100" b="0" i="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4pPr>
      <a:lvl5pPr marL="1828800" indent="-13716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75000"/>
          </a:schemeClr>
        </a:buClr>
        <a:buFont typeface="Arial" panose="020B0604020202020204" pitchFamily="34" charset="0"/>
        <a:buChar char="•"/>
        <a:defRPr sz="1100" b="0" i="0" kern="1200">
          <a:solidFill>
            <a:schemeClr val="bg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egalrexnord.sharepoint.com/:w:/r/hr/Global%20HR%20Documents/HR%20Analytics/CVD%20Metrics/Core%20Value%20Drivers%20Guide.docx?d=w3a2a44e0e6ed4d28b8d150933075f471&amp;csf=1&amp;web=1&amp;e=x0OUqx" TargetMode="External"/><Relationship Id="rId2" Type="http://schemas.openxmlformats.org/officeDocument/2006/relationships/hyperlink" Target="https://regalrexnord.sharepoint.com/:f:/r/hr/Global%20HR%20Documents/HR%20Analytics/CVD%20Metrics?csf=1&amp;web=1&amp;e=XtNCGH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forms.office.com/r/ZqEh6UpyZe" TargetMode="External"/><Relationship Id="rId4" Type="http://schemas.openxmlformats.org/officeDocument/2006/relationships/hyperlink" Target="https://regalrexnord.sharepoint.com/:x:/r/sites/rbs/Shared%20Documents/Business%20Management/Site,%20BUR,%20POR%20Operating%20Reviews/RRX%20CVD%20Bowlers%20Template.xlsx?d=wa11a331b27c94c73a7a56cf383161c46&amp;csf=1&amp;web=1&amp;e=GTb3kN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regalrexnord.sharepoint.com/:f:/r/hr/Global%20HR%20Documents/HR%20Analytics/CVD%20Metrics?csf=1&amp;web=1&amp;e=ZAfMdU" TargetMode="External"/><Relationship Id="rId2" Type="http://schemas.openxmlformats.org/officeDocument/2006/relationships/hyperlink" Target="https://regalrexnord.sharepoint.com/:f:/r/hr/Global%20HR%20Documents/HR%20Analytics/CVD%20Metrics/2024?csf=1&amp;web=1&amp;e=aUhzgd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921B7-38E1-847F-72A1-4ED3388051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VD Trai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3AF8CF-39C1-8BB0-50BA-FEBC0B3044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68967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D2FD45F-5F41-D271-C484-AA1AE5AF81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9463983"/>
              </p:ext>
            </p:extLst>
          </p:nvPr>
        </p:nvGraphicFramePr>
        <p:xfrm>
          <a:off x="457200" y="1096963"/>
          <a:ext cx="1117600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6572">
                  <a:extLst>
                    <a:ext uri="{9D8B030D-6E8A-4147-A177-3AD203B41FA5}">
                      <a16:colId xmlns:a16="http://schemas.microsoft.com/office/drawing/2014/main" val="1136805045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3991641546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1745785759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2042520019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4177562291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1660096115"/>
                    </a:ext>
                  </a:extLst>
                </a:gridCol>
                <a:gridCol w="1596572">
                  <a:extLst>
                    <a:ext uri="{9D8B030D-6E8A-4147-A177-3AD203B41FA5}">
                      <a16:colId xmlns:a16="http://schemas.microsoft.com/office/drawing/2014/main" val="24816292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v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Y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Y 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m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5020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Professional Voluntary Turno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1, L2, L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nualized Y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24 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24 – 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25 act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nualized YTD / 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09419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Manufacturing Voluntary Turno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3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nualized Y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024 actual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Goal set by bus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025 actual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nnualized YTD / 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0358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Internal Fill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L1, L2, L3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Y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024 actual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025 actual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258173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52A106-7EA0-2047-2A98-E9AE82B67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4BE57-E9E9-6474-FD55-8749D8BEB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00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A35531F-BDFF-9A21-BC82-BD207DEF8C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9036326"/>
              </p:ext>
            </p:extLst>
          </p:nvPr>
        </p:nvGraphicFramePr>
        <p:xfrm>
          <a:off x="474625" y="1881731"/>
          <a:ext cx="11176000" cy="4086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88EC50-4EE0-135B-DAC5-66038EB25D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13F4D9-79B0-CEA7-019B-9F6DF7097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6C6217-FBF9-128F-D273-2FDFA81DA5E6}"/>
              </a:ext>
            </a:extLst>
          </p:cNvPr>
          <p:cNvSpPr txBox="1"/>
          <p:nvPr/>
        </p:nvSpPr>
        <p:spPr>
          <a:xfrm>
            <a:off x="508000" y="1060704"/>
            <a:ext cx="1117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Goal</a:t>
            </a:r>
            <a:r>
              <a:rPr lang="en-US" dirty="0"/>
              <a:t>: Create a shared understanding of Core Value Drivers (CVDs) by highlighting key topics and resurfacing available resources.</a:t>
            </a:r>
          </a:p>
        </p:txBody>
      </p:sp>
    </p:spTree>
    <p:extLst>
      <p:ext uri="{BB962C8B-B14F-4D97-AF65-F5344CB8AC3E}">
        <p14:creationId xmlns:p14="http://schemas.microsoft.com/office/powerpoint/2010/main" val="19288154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450E86B4-047C-601B-EC4D-67420EDBE5C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0343749"/>
              </p:ext>
            </p:extLst>
          </p:nvPr>
        </p:nvGraphicFramePr>
        <p:xfrm>
          <a:off x="457200" y="1599240"/>
          <a:ext cx="11176000" cy="4614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000">
                  <a:extLst>
                    <a:ext uri="{9D8B030D-6E8A-4147-A177-3AD203B41FA5}">
                      <a16:colId xmlns:a16="http://schemas.microsoft.com/office/drawing/2014/main" val="1458286122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2829619150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81702599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4285940861"/>
                    </a:ext>
                  </a:extLst>
                </a:gridCol>
              </a:tblGrid>
              <a:tr h="516051">
                <a:tc>
                  <a:txBody>
                    <a:bodyPr/>
                    <a:lstStyle/>
                    <a:p>
                      <a:endParaRPr lang="en-US" sz="1100" dirty="0">
                        <a:latin typeface="Univers" panose="020B05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Univers" panose="020B0503020202020204" pitchFamily="34" charset="0"/>
                        </a:rPr>
                        <a:t>Professional Voluntary Turno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Univers" panose="020B0503020202020204" pitchFamily="34" charset="0"/>
                        </a:rPr>
                        <a:t>Internal Fill 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Univers" panose="020B0503020202020204" pitchFamily="34" charset="0"/>
                        </a:rPr>
                        <a:t>Manufacturing Voluntary Turnover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2557218"/>
                  </a:ext>
                </a:extLst>
              </a:tr>
              <a:tr h="882125">
                <a:tc>
                  <a:txBody>
                    <a:bodyPr/>
                    <a:lstStyle/>
                    <a:p>
                      <a:pPr marL="0" algn="l" defTabSz="1219170" rtl="0" eaLnBrk="1" fontAlgn="base" latinLnBrk="0" hangingPunct="1"/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Defini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1440" algn="l" defTabSz="1219170" rtl="0" eaLnBrk="1" fontAlgn="base" latinLnBrk="0" hangingPunct="1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Turnover rate for professional and above associates that leave the company voluntarily.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Univers" panose="020B0503020202020204" pitchFamily="34" charset="0"/>
                        </a:rPr>
                        <a:t>Percentage of M1+ level roles that are filled internally</a:t>
                      </a:r>
                    </a:p>
                  </a:txBody>
                  <a:tcPr marL="6350" marR="6350" marT="6350" anchor="ctr"/>
                </a:tc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Univers" panose="020B0503020202020204" pitchFamily="34" charset="0"/>
                        </a:rPr>
                        <a:t>Turnover rate for direct and indirect labor associates that leave the company voluntarily</a:t>
                      </a:r>
                    </a:p>
                  </a:txBody>
                  <a:tcPr marL="6350" marR="6350" marT="6350" anchor="ctr"/>
                </a:tc>
                <a:extLst>
                  <a:ext uri="{0D108BD9-81ED-4DB2-BD59-A6C34878D82A}">
                    <a16:rowId xmlns:a16="http://schemas.microsoft.com/office/drawing/2014/main" val="3688836309"/>
                  </a:ext>
                </a:extLst>
              </a:tr>
              <a:tr h="939939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Univers" panose="020B0503020202020204" pitchFamily="34" charset="0"/>
                        </a:rPr>
                        <a:t>Popul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All career levels, excluding DL/IDL 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Employees only (no contingent) 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HR is removed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Supervisor+ (by career level) 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Employees only (no contingent) 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HR is removed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DL/IDL Only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Employees only (no contingent) </a:t>
                      </a:r>
                    </a:p>
                    <a:p>
                      <a:pPr rtl="0" fontAlgn="base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Univers" panose="020B0503020202020204" pitchFamily="34" charset="0"/>
                          <a:ea typeface="+mn-ea"/>
                          <a:cs typeface="+mn-cs"/>
                        </a:rPr>
                        <a:t>HR is removed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7298754"/>
                  </a:ext>
                </a:extLst>
              </a:tr>
              <a:tr h="544568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Univers" panose="020B0503020202020204" pitchFamily="34" charset="0"/>
                        </a:rPr>
                        <a:t>Go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10% Improvement from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5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Set by busin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9967480"/>
                  </a:ext>
                </a:extLst>
              </a:tr>
              <a:tr h="591355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Univers" panose="020B0503020202020204" pitchFamily="34" charset="0"/>
                        </a:rPr>
                        <a:t>Audi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1 (Segment/POR)</a:t>
                      </a:r>
                    </a:p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2 (Division/BUR)</a:t>
                      </a:r>
                    </a:p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3 (Plant/SO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1 (Segment/POR)</a:t>
                      </a:r>
                    </a:p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2 (Division/BUR)</a:t>
                      </a:r>
                    </a:p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3 (Plant/SO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L3 (Plant/SOR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828862"/>
                  </a:ext>
                </a:extLst>
              </a:tr>
              <a:tr h="544568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Univers" panose="020B0503020202020204" pitchFamily="34" charset="0"/>
                        </a:rPr>
                        <a:t>Primary Metr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Annualized 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Annualized YT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3992929"/>
                  </a:ext>
                </a:extLst>
              </a:tr>
              <a:tr h="544568">
                <a:tc>
                  <a:txBody>
                    <a:bodyPr/>
                    <a:lstStyle/>
                    <a:p>
                      <a:r>
                        <a:rPr lang="en-US" sz="1200" b="1" dirty="0">
                          <a:latin typeface="Univers" panose="020B0503020202020204" pitchFamily="34" charset="0"/>
                        </a:rPr>
                        <a:t>Forecasting Guid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Annualized YTD / 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5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Univers" panose="020B0503020202020204" pitchFamily="34" charset="0"/>
                        </a:rPr>
                        <a:t>Annualized YTD / 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1393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F4FDC6-CEF7-8088-58F1-F6C94C00D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995234-3BBA-5C85-2A65-DCFB52726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R Core Value Drivers (CVDs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B643C6-4E9C-F75E-F717-8C582BCB95ED}"/>
              </a:ext>
            </a:extLst>
          </p:cNvPr>
          <p:cNvSpPr txBox="1"/>
          <p:nvPr/>
        </p:nvSpPr>
        <p:spPr>
          <a:xfrm>
            <a:off x="545439" y="1057958"/>
            <a:ext cx="11101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hlinkClick r:id="rId2"/>
              </a:rPr>
              <a:t>CVD Metrics</a:t>
            </a:r>
            <a:r>
              <a:rPr lang="en-US" dirty="0"/>
              <a:t>	 | 	</a:t>
            </a:r>
            <a:r>
              <a:rPr lang="en-US" dirty="0">
                <a:hlinkClick r:id="rId3"/>
              </a:rPr>
              <a:t>CVD Guide &amp; FAQ </a:t>
            </a:r>
            <a:r>
              <a:rPr lang="en-US" dirty="0"/>
              <a:t>	| 	</a:t>
            </a:r>
            <a:r>
              <a:rPr lang="en-US" dirty="0">
                <a:hlinkClick r:id="rId4"/>
              </a:rPr>
              <a:t>CVD Bowlers Templat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BCF58C-CE78-98DE-6D12-800FFBAFE18E}"/>
              </a:ext>
            </a:extLst>
          </p:cNvPr>
          <p:cNvSpPr txBox="1"/>
          <p:nvPr/>
        </p:nvSpPr>
        <p:spPr>
          <a:xfrm>
            <a:off x="545439" y="6322364"/>
            <a:ext cx="111011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till need help? </a:t>
            </a:r>
            <a:r>
              <a:rPr lang="en-US" sz="1200" dirty="0">
                <a:hlinkClick r:id="rId5"/>
              </a:rPr>
              <a:t>Start her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67109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A089578-876C-F77A-4AC8-A5BEBA401E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7226932"/>
              </p:ext>
            </p:extLst>
          </p:nvPr>
        </p:nvGraphicFramePr>
        <p:xfrm>
          <a:off x="1479698" y="1325880"/>
          <a:ext cx="9165853" cy="1316736"/>
        </p:xfrm>
        <a:graphic>
          <a:graphicData uri="http://schemas.openxmlformats.org/drawingml/2006/table">
            <a:tbl>
              <a:tblPr/>
              <a:tblGrid>
                <a:gridCol w="991113">
                  <a:extLst>
                    <a:ext uri="{9D8B030D-6E8A-4147-A177-3AD203B41FA5}">
                      <a16:colId xmlns:a16="http://schemas.microsoft.com/office/drawing/2014/main" val="3869732644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3589098800"/>
                    </a:ext>
                  </a:extLst>
                </a:gridCol>
                <a:gridCol w="813816">
                  <a:extLst>
                    <a:ext uri="{9D8B030D-6E8A-4147-A177-3AD203B41FA5}">
                      <a16:colId xmlns:a16="http://schemas.microsoft.com/office/drawing/2014/main" val="1370145009"/>
                    </a:ext>
                  </a:extLst>
                </a:gridCol>
                <a:gridCol w="1426464">
                  <a:extLst>
                    <a:ext uri="{9D8B030D-6E8A-4147-A177-3AD203B41FA5}">
                      <a16:colId xmlns:a16="http://schemas.microsoft.com/office/drawing/2014/main" val="3992346684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2984877733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1582128510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80482392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2526223040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2103705704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1315695585"/>
                    </a:ext>
                  </a:extLst>
                </a:gridCol>
                <a:gridCol w="637468">
                  <a:extLst>
                    <a:ext uri="{9D8B030D-6E8A-4147-A177-3AD203B41FA5}">
                      <a16:colId xmlns:a16="http://schemas.microsoft.com/office/drawing/2014/main" val="239140067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V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PI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5 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273170"/>
                  </a:ext>
                </a:extLst>
              </a:tr>
              <a:tr h="23774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essional Turnove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ntary Turnover Professional  % .0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Y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164070"/>
                  </a:ext>
                </a:extLst>
              </a:tr>
              <a:tr h="2377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103232"/>
                  </a:ext>
                </a:extLst>
              </a:tr>
              <a:tr h="2377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OMMIT / FORECAST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6591827"/>
                  </a:ext>
                </a:extLst>
              </a:tr>
              <a:tr h="2377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OP Var Bps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291360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8B0EED-1DC2-37B9-72FD-B4012EE9CF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55961B-B746-42CF-D4AE-CDDD17D65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oding the </a:t>
            </a:r>
            <a:r>
              <a:rPr lang="en-US" dirty="0" err="1"/>
              <a:t>cvd</a:t>
            </a:r>
            <a:r>
              <a:rPr lang="en-US" dirty="0"/>
              <a:t> bowler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864C4678-9E68-F2AF-C195-76A9033A526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543176706"/>
                  </p:ext>
                </p:extLst>
              </p:nvPr>
            </p:nvGraphicFramePr>
            <p:xfrm>
              <a:off x="457200" y="3338520"/>
              <a:ext cx="11210852" cy="2509520"/>
            </p:xfrm>
            <a:graphic>
              <a:graphicData uri="http://schemas.openxmlformats.org/drawingml/2006/table">
                <a:tbl>
                  <a:tblPr firstRow="1">
                    <a:tableStyleId>{5C22544A-7EE6-4342-B048-85BDC9FD1C3A}</a:tableStyleId>
                  </a:tblPr>
                  <a:tblGrid>
                    <a:gridCol w="2802713">
                      <a:extLst>
                        <a:ext uri="{9D8B030D-6E8A-4147-A177-3AD203B41FA5}">
                          <a16:colId xmlns:a16="http://schemas.microsoft.com/office/drawing/2014/main" val="518589567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483370012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3755195734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1270345752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you’re seeing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they are talking about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they mean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ere to find it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4206435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PY ACTUAL</a:t>
                          </a:r>
                        </a:p>
                      </a:txBody>
                      <a:tcPr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Previous Year Performance</a:t>
                          </a:r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4 data</a:t>
                          </a:r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hlinkClick r:id="rId2"/>
                            </a:rPr>
                            <a:t>2024 CVD Data</a:t>
                          </a:r>
                          <a:endParaRPr lang="en-US" sz="1400" dirty="0"/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7290230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AOP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nnual Operating Plan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goal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VT: 2024 – 10%</a:t>
                          </a:r>
                          <a:br>
                            <a:rPr lang="en-US" sz="1400" dirty="0"/>
                          </a:br>
                          <a:r>
                            <a:rPr lang="en-US" sz="1400" dirty="0"/>
                            <a:t>IFR: 50%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1445561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COMMIT / FORECAST</a:t>
                          </a:r>
                        </a:p>
                      </a:txBody>
                      <a:tcPr anchor="ctr">
                        <a:solidFill>
                          <a:srgbClr val="00B0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ctual Performance then Forecasted Performance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data then 2025 projected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hlinkClick r:id="rId3"/>
                            </a:rPr>
                            <a:t>2025 CVD Data</a:t>
                          </a:r>
                          <a:br>
                            <a:rPr lang="en-US" sz="1400" dirty="0"/>
                          </a:br>
                          <a:r>
                            <a:rPr lang="en-US" sz="1400" dirty="0"/>
                            <a:t>VT: Annualized 2025 YTD / 12</a:t>
                          </a:r>
                        </a:p>
                        <a:p>
                          <a:pPr algn="ctr"/>
                          <a:r>
                            <a:rPr lang="en-US" sz="1400" dirty="0"/>
                            <a:t>IFR: 50%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40414548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AOP Var Bps</a:t>
                          </a:r>
                        </a:p>
                      </a:txBody>
                      <a:tcPr anchor="ctr">
                        <a:solidFill>
                          <a:schemeClr val="accent3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ctual Performance Variance from Operating Plan</a:t>
                          </a:r>
                        </a:p>
                      </a:txBody>
                      <a:tcPr anchor="ctr">
                        <a:solidFill>
                          <a:srgbClr val="8C8C8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data vs. 2025 goal</a:t>
                          </a:r>
                        </a:p>
                      </a:txBody>
                      <a:tcPr anchor="ctr">
                        <a:solidFill>
                          <a:srgbClr val="8C8C8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z="14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d>
                                      <m:dPr>
                                        <m:ctrlPr>
                                          <a:rPr lang="en-US" sz="140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b="0" i="1" smtClean="0">
                                            <a:latin typeface="Cambria Math" panose="02040503050406030204" pitchFamily="18" charset="0"/>
                                          </a:rPr>
                                          <m:t>2025 </m:t>
                                        </m:r>
                                        <m:r>
                                          <a:rPr lang="en-US" sz="1400" b="0" i="1" smtClean="0">
                                            <a:latin typeface="Cambria Math" panose="02040503050406030204" pitchFamily="18" charset="0"/>
                                          </a:rPr>
                                          <m:t>𝐷𝑎𝑡𝑎</m:t>
                                        </m:r>
                                        <m:r>
                                          <a:rPr lang="en-US" sz="1400" b="0" i="1" smtClean="0">
                                            <a:latin typeface="Cambria Math" panose="02040503050406030204" pitchFamily="18" charset="0"/>
                                          </a:rPr>
                                          <m:t> −</m:t>
                                        </m:r>
                                        <m:r>
                                          <a:rPr lang="en-US" sz="1400" b="0" i="1" smtClean="0">
                                            <a:latin typeface="Cambria Math" panose="02040503050406030204" pitchFamily="18" charset="0"/>
                                          </a:rPr>
                                          <m:t>𝐺𝑜𝑎𝑙</m:t>
                                        </m:r>
                                      </m:e>
                                    </m:d>
                                  </m:num>
                                  <m:den>
                                    <m:r>
                                      <a:rPr lang="en-US" sz="1400" b="0" i="1" smtClean="0">
                                        <a:latin typeface="Cambria Math" panose="02040503050406030204" pitchFamily="18" charset="0"/>
                                      </a:rPr>
                                      <m:t>𝐺𝑜𝑎𝑙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sz="1400" dirty="0"/>
                        </a:p>
                      </a:txBody>
                      <a:tcPr anchor="ctr">
                        <a:solidFill>
                          <a:srgbClr val="8C8C8C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41898653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864C4678-9E68-F2AF-C195-76A9033A526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543176706"/>
                  </p:ext>
                </p:extLst>
              </p:nvPr>
            </p:nvGraphicFramePr>
            <p:xfrm>
              <a:off x="457200" y="3338520"/>
              <a:ext cx="11210852" cy="2509520"/>
            </p:xfrm>
            <a:graphic>
              <a:graphicData uri="http://schemas.openxmlformats.org/drawingml/2006/table">
                <a:tbl>
                  <a:tblPr firstRow="1">
                    <a:tableStyleId>{5C22544A-7EE6-4342-B048-85BDC9FD1C3A}</a:tableStyleId>
                  </a:tblPr>
                  <a:tblGrid>
                    <a:gridCol w="2802713">
                      <a:extLst>
                        <a:ext uri="{9D8B030D-6E8A-4147-A177-3AD203B41FA5}">
                          <a16:colId xmlns:a16="http://schemas.microsoft.com/office/drawing/2014/main" val="518589567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483370012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3755195734"/>
                        </a:ext>
                      </a:extLst>
                    </a:gridCol>
                    <a:gridCol w="2802713">
                      <a:extLst>
                        <a:ext uri="{9D8B030D-6E8A-4147-A177-3AD203B41FA5}">
                          <a16:colId xmlns:a16="http://schemas.microsoft.com/office/drawing/2014/main" val="1270345752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you’re seeing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they are talking about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at they mean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Where to find it</a:t>
                          </a:r>
                        </a:p>
                      </a:txBody>
                      <a:tcPr anchor="ctr">
                        <a:solidFill>
                          <a:schemeClr val="tx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4206435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PY ACTUAL</a:t>
                          </a:r>
                        </a:p>
                      </a:txBody>
                      <a:tcPr anchor="ctr">
                        <a:solidFill>
                          <a:schemeClr val="accent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Previous Year Performance</a:t>
                          </a:r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4 data</a:t>
                          </a:r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hlinkClick r:id="rId2"/>
                            </a:rPr>
                            <a:t>2024 CVD Data</a:t>
                          </a:r>
                          <a:endParaRPr lang="en-US" sz="1400" dirty="0"/>
                        </a:p>
                      </a:txBody>
                      <a:tcPr anchor="ctr">
                        <a:solidFill>
                          <a:srgbClr val="002F6C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72902306"/>
                      </a:ext>
                    </a:extLst>
                  </a:tr>
                  <a:tr h="51816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AOP</a:t>
                          </a:r>
                        </a:p>
                      </a:txBody>
                      <a:tcPr anchor="ctr">
                        <a:solidFill>
                          <a:schemeClr val="accent2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nnual Operating Plan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goal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VT: 2024 – 10%</a:t>
                          </a:r>
                          <a:br>
                            <a:rPr lang="en-US" sz="1400" dirty="0"/>
                          </a:br>
                          <a:r>
                            <a:rPr lang="en-US" sz="1400" dirty="0"/>
                            <a:t>IFR: 50%</a:t>
                          </a:r>
                        </a:p>
                      </a:txBody>
                      <a:tcPr anchor="ctr">
                        <a:solidFill>
                          <a:srgbClr val="71B840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14455615"/>
                      </a:ext>
                    </a:extLst>
                  </a:tr>
                  <a:tr h="73152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COMMIT / FORECAST</a:t>
                          </a:r>
                        </a:p>
                      </a:txBody>
                      <a:tcPr anchor="ctr">
                        <a:solidFill>
                          <a:srgbClr val="00B0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ctual Performance then Forecasted Performance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data then 2025 projected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>
                              <a:hlinkClick r:id="rId3"/>
                            </a:rPr>
                            <a:t>2025 CVD Data</a:t>
                          </a:r>
                          <a:br>
                            <a:rPr lang="en-US" sz="1400" dirty="0"/>
                          </a:br>
                          <a:r>
                            <a:rPr lang="en-US" sz="1400" dirty="0"/>
                            <a:t>VT: Annualized 2025 YTD / 12</a:t>
                          </a:r>
                        </a:p>
                        <a:p>
                          <a:pPr algn="ctr"/>
                          <a:r>
                            <a:rPr lang="en-US" sz="1400" dirty="0"/>
                            <a:t>IFR: 50%</a:t>
                          </a:r>
                        </a:p>
                      </a:txBody>
                      <a:tcPr anchor="ctr">
                        <a:solidFill>
                          <a:srgbClr val="00B0F0">
                            <a:alpha val="25098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404145483"/>
                      </a:ext>
                    </a:extLst>
                  </a:tr>
                  <a:tr h="518160"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US" sz="1400" b="1" dirty="0">
                              <a:solidFill>
                                <a:schemeClr val="bg1"/>
                              </a:solidFill>
                            </a:rPr>
                            <a:t>AOP Var Bps</a:t>
                          </a:r>
                        </a:p>
                      </a:txBody>
                      <a:tcPr anchor="ctr">
                        <a:solidFill>
                          <a:schemeClr val="accent3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Actual Performance Variance from Operating Plan</a:t>
                          </a:r>
                        </a:p>
                      </a:txBody>
                      <a:tcPr anchor="ctr">
                        <a:solidFill>
                          <a:srgbClr val="8C8C8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400" dirty="0"/>
                            <a:t>2025 data vs. 2025 goal</a:t>
                          </a:r>
                        </a:p>
                      </a:txBody>
                      <a:tcPr anchor="ctr">
                        <a:solidFill>
                          <a:srgbClr val="8C8C8C">
                            <a:alpha val="25098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300435" t="-387059" r="-870" b="-1176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641898653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A6364410-36E1-22E4-B81F-4154ACB0E524}"/>
              </a:ext>
            </a:extLst>
          </p:cNvPr>
          <p:cNvSpPr txBox="1"/>
          <p:nvPr/>
        </p:nvSpPr>
        <p:spPr>
          <a:xfrm>
            <a:off x="7991856" y="6153912"/>
            <a:ext cx="3676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/>
              <a:t>VT = Voluntary Turnover</a:t>
            </a:r>
          </a:p>
          <a:p>
            <a:pPr algn="r"/>
            <a:r>
              <a:rPr lang="en-US" sz="900" dirty="0"/>
              <a:t>IFR = Internal Fill Rate</a:t>
            </a:r>
          </a:p>
        </p:txBody>
      </p:sp>
    </p:spTree>
    <p:extLst>
      <p:ext uri="{BB962C8B-B14F-4D97-AF65-F5344CB8AC3E}">
        <p14:creationId xmlns:p14="http://schemas.microsoft.com/office/powerpoint/2010/main" val="9189509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D215CEC-D62F-8D20-EE4C-D8540A4CB843}"/>
              </a:ext>
            </a:extLst>
          </p:cNvPr>
          <p:cNvSpPr txBox="1"/>
          <p:nvPr/>
        </p:nvSpPr>
        <p:spPr>
          <a:xfrm>
            <a:off x="1225296" y="2810745"/>
            <a:ext cx="1081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Univers" panose="020B0503020202020204" pitchFamily="34" charset="0"/>
              </a:rPr>
              <a:t>YTD: 6</a:t>
            </a:r>
            <a:r>
              <a:rPr lang="en-US" dirty="0">
                <a:latin typeface="Univers" panose="020B0503020202020204" pitchFamily="34" charset="0"/>
              </a:rPr>
              <a:t>									  </a:t>
            </a:r>
            <a:r>
              <a:rPr lang="en-US" dirty="0">
                <a:solidFill>
                  <a:schemeClr val="accent4"/>
                </a:solidFill>
                <a:latin typeface="Univers" panose="020B0503020202020204" pitchFamily="34" charset="0"/>
              </a:rPr>
              <a:t>Annualized: 24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1E37CC-29AE-DAA8-0217-D556544DB0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4"/>
                </a:solidFill>
              </a:rPr>
              <a:t>YTD Annualized</a:t>
            </a:r>
            <a:r>
              <a:rPr lang="en-US" dirty="0"/>
              <a:t>: Projected year-end results based on current year-to-date performance</a:t>
            </a:r>
          </a:p>
          <a:p>
            <a:r>
              <a:rPr lang="en-US" b="1" dirty="0">
                <a:solidFill>
                  <a:schemeClr val="accent2"/>
                </a:solidFill>
              </a:rPr>
              <a:t>Monthly Forecast</a:t>
            </a:r>
            <a:r>
              <a:rPr lang="en-US" dirty="0"/>
              <a:t>: Prorated projected year-end results</a:t>
            </a:r>
          </a:p>
          <a:p>
            <a:r>
              <a:rPr lang="en-US" dirty="0"/>
              <a:t>If I read 6 books in the first quarter, and I continue at my current pace, I am projected to read 24 books this year. This means an average of 2 books per month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5094B9-92DD-8329-9D73-166B92503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9E87D64-2DD7-3641-DF09-D5E07E97C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ualizing and forecasting Voluntary Turnover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2916CC6-885B-0966-803A-AF1B5DDC2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828478"/>
              </p:ext>
            </p:extLst>
          </p:nvPr>
        </p:nvGraphicFramePr>
        <p:xfrm>
          <a:off x="457200" y="3703320"/>
          <a:ext cx="1117599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1333">
                  <a:extLst>
                    <a:ext uri="{9D8B030D-6E8A-4147-A177-3AD203B41FA5}">
                      <a16:colId xmlns:a16="http://schemas.microsoft.com/office/drawing/2014/main" val="1580942541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774507094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2906447244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4189431683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1910763138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3686176140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3656707170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3645510707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779632045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477298801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4172518168"/>
                    </a:ext>
                  </a:extLst>
                </a:gridCol>
                <a:gridCol w="931333">
                  <a:extLst>
                    <a:ext uri="{9D8B030D-6E8A-4147-A177-3AD203B41FA5}">
                      <a16:colId xmlns:a16="http://schemas.microsoft.com/office/drawing/2014/main" val="1317242075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Q1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Q2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Q3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Q4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70696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J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e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p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Ju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Ju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u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Oc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e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9610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197144"/>
                  </a:ext>
                </a:extLst>
              </a:tr>
            </a:tbl>
          </a:graphicData>
        </a:graphic>
      </p:graphicFrame>
      <p:sp>
        <p:nvSpPr>
          <p:cNvPr id="6" name="Right Brace 5">
            <a:extLst>
              <a:ext uri="{FF2B5EF4-FFF2-40B4-BE49-F238E27FC236}">
                <a16:creationId xmlns:a16="http://schemas.microsoft.com/office/drawing/2014/main" id="{82F13044-E86E-0C54-21C9-D4397E8B0E20}"/>
              </a:ext>
            </a:extLst>
          </p:cNvPr>
          <p:cNvSpPr/>
          <p:nvPr/>
        </p:nvSpPr>
        <p:spPr>
          <a:xfrm rot="16200000">
            <a:off x="1613916" y="2002056"/>
            <a:ext cx="438912" cy="2752344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0FEF526-8FDC-08EA-027E-280BA9DA968F}"/>
              </a:ext>
            </a:extLst>
          </p:cNvPr>
          <p:cNvCxnSpPr>
            <a:cxnSpLocks/>
          </p:cNvCxnSpPr>
          <p:nvPr/>
        </p:nvCxnSpPr>
        <p:spPr>
          <a:xfrm>
            <a:off x="2238103" y="2995411"/>
            <a:ext cx="7244225" cy="0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141EE31-ADDE-2B85-4396-FE9E5066E87D}"/>
              </a:ext>
            </a:extLst>
          </p:cNvPr>
          <p:cNvCxnSpPr/>
          <p:nvPr/>
        </p:nvCxnSpPr>
        <p:spPr>
          <a:xfrm>
            <a:off x="9787128" y="3180077"/>
            <a:ext cx="0" cy="417608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3612DFD-4163-24A3-4A4E-E55936DC047E}"/>
              </a:ext>
            </a:extLst>
          </p:cNvPr>
          <p:cNvSpPr txBox="1"/>
          <p:nvPr/>
        </p:nvSpPr>
        <p:spPr>
          <a:xfrm>
            <a:off x="9787128" y="3193562"/>
            <a:ext cx="2404872" cy="369332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Monthly Forecast: 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8E9083-E7D0-46A0-35C9-50785497AF90}"/>
              </a:ext>
            </a:extLst>
          </p:cNvPr>
          <p:cNvSpPr txBox="1"/>
          <p:nvPr/>
        </p:nvSpPr>
        <p:spPr>
          <a:xfrm>
            <a:off x="8058606" y="6399351"/>
            <a:ext cx="36761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/>
              <a:t>This is only for voluntary turnover, not internal fil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D404E66-48CF-5213-7A6B-47087A271DBA}"/>
                  </a:ext>
                </a:extLst>
              </p:cNvPr>
              <p:cNvSpPr txBox="1"/>
              <p:nvPr/>
            </p:nvSpPr>
            <p:spPr>
              <a:xfrm>
                <a:off x="3468958" y="5311632"/>
                <a:ext cx="4045928" cy="506870"/>
              </a:xfrm>
              <a:prstGeom prst="rect">
                <a:avLst/>
              </a:prstGeom>
              <a:noFill/>
              <a:ln w="38100">
                <a:solidFill>
                  <a:schemeClr val="accent4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accent4"/>
                    </a:solidFill>
                  </a:rPr>
                  <a:t>*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i="1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12</m:t>
                            </m:r>
                          </m:num>
                          <m:den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𝐶𝑢𝑟𝑟𝑒𝑛𝑡</m:t>
                            </m:r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𝑀𝑜𝑛𝑡h</m:t>
                            </m:r>
                          </m:den>
                        </m:f>
                      </m:e>
                    </m:d>
                  </m:oMath>
                </a14:m>
                <a:r>
                  <a:rPr lang="en-US" dirty="0">
                    <a:solidFill>
                      <a:schemeClr val="accent4"/>
                    </a:solidFill>
                  </a:rPr>
                  <a:t> = YTD Annualized</a:t>
                </a:r>
              </a:p>
            </p:txBody>
          </p:sp>
        </mc:Choice>
        <mc:Fallback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D404E66-48CF-5213-7A6B-47087A271D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68958" y="5311632"/>
                <a:ext cx="4045928" cy="506870"/>
              </a:xfrm>
              <a:prstGeom prst="rect">
                <a:avLst/>
              </a:prstGeom>
              <a:blipFill>
                <a:blip r:embed="rId2"/>
                <a:stretch>
                  <a:fillRect b="-1124"/>
                </a:stretch>
              </a:blipFill>
              <a:ln w="38100">
                <a:solidFill>
                  <a:schemeClr val="accent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>
            <a:extLst>
              <a:ext uri="{FF2B5EF4-FFF2-40B4-BE49-F238E27FC236}">
                <a16:creationId xmlns:a16="http://schemas.microsoft.com/office/drawing/2014/main" id="{D2B25502-7405-9D4E-BD18-47B4B16AC8A0}"/>
              </a:ext>
            </a:extLst>
          </p:cNvPr>
          <p:cNvSpPr txBox="1"/>
          <p:nvPr/>
        </p:nvSpPr>
        <p:spPr>
          <a:xfrm>
            <a:off x="8382376" y="5380401"/>
            <a:ext cx="2771125" cy="369332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÷ 12 = Monthly Forecast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6029B6C-C66B-9B43-B9C2-CAC38CB6A6A7}"/>
              </a:ext>
            </a:extLst>
          </p:cNvPr>
          <p:cNvSpPr txBox="1"/>
          <p:nvPr/>
        </p:nvSpPr>
        <p:spPr>
          <a:xfrm>
            <a:off x="1833372" y="5380401"/>
            <a:ext cx="768096" cy="369332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YTD</a:t>
            </a:r>
          </a:p>
        </p:txBody>
      </p:sp>
    </p:spTree>
    <p:extLst>
      <p:ext uri="{BB962C8B-B14F-4D97-AF65-F5344CB8AC3E}">
        <p14:creationId xmlns:p14="http://schemas.microsoft.com/office/powerpoint/2010/main" val="1573113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81128-BD4E-7CC8-6AE9-93F86513CE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803F51-FDA1-EC6A-08EA-357779A9AF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3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BC91E0-2435-F431-6D43-CBCEE74C12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Move from problem awareness to problem solving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9C486AC-BE46-E2EC-976B-C43BD00422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27878916"/>
              </p:ext>
            </p:extLst>
          </p:nvPr>
        </p:nvGraphicFramePr>
        <p:xfrm>
          <a:off x="457200" y="1133856"/>
          <a:ext cx="11055095" cy="5038342"/>
        </p:xfrm>
        <a:graphic>
          <a:graphicData uri="http://schemas.openxmlformats.org/drawingml/2006/table">
            <a:tbl>
              <a:tblPr/>
              <a:tblGrid>
                <a:gridCol w="2211019">
                  <a:extLst>
                    <a:ext uri="{9D8B030D-6E8A-4147-A177-3AD203B41FA5}">
                      <a16:colId xmlns:a16="http://schemas.microsoft.com/office/drawing/2014/main" val="757831070"/>
                    </a:ext>
                  </a:extLst>
                </a:gridCol>
                <a:gridCol w="2211019">
                  <a:extLst>
                    <a:ext uri="{9D8B030D-6E8A-4147-A177-3AD203B41FA5}">
                      <a16:colId xmlns:a16="http://schemas.microsoft.com/office/drawing/2014/main" val="382592539"/>
                    </a:ext>
                  </a:extLst>
                </a:gridCol>
                <a:gridCol w="2211019">
                  <a:extLst>
                    <a:ext uri="{9D8B030D-6E8A-4147-A177-3AD203B41FA5}">
                      <a16:colId xmlns:a16="http://schemas.microsoft.com/office/drawing/2014/main" val="1311747100"/>
                    </a:ext>
                  </a:extLst>
                </a:gridCol>
                <a:gridCol w="2211019">
                  <a:extLst>
                    <a:ext uri="{9D8B030D-6E8A-4147-A177-3AD203B41FA5}">
                      <a16:colId xmlns:a16="http://schemas.microsoft.com/office/drawing/2014/main" val="1806602749"/>
                    </a:ext>
                  </a:extLst>
                </a:gridCol>
                <a:gridCol w="2211019">
                  <a:extLst>
                    <a:ext uri="{9D8B030D-6E8A-4147-A177-3AD203B41FA5}">
                      <a16:colId xmlns:a16="http://schemas.microsoft.com/office/drawing/2014/main" val="511563656"/>
                    </a:ext>
                  </a:extLst>
                </a:gridCol>
              </a:tblGrid>
              <a:tr h="906755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1" i="0" dirty="0">
                          <a:solidFill>
                            <a:srgbClr val="FFFFFF"/>
                          </a:solidFill>
                          <a:effectLst/>
                          <a:latin typeface="Univers" panose="020B0503020202020204" pitchFamily="34" charset="0"/>
                        </a:rPr>
                        <a:t>Career Level </a:t>
                      </a:r>
                      <a:endParaRPr lang="en-US" sz="3200" b="1" i="0" dirty="0">
                        <a:solidFill>
                          <a:srgbClr val="FFFFFF"/>
                        </a:solidFill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1" i="0" dirty="0">
                          <a:solidFill>
                            <a:srgbClr val="FFFFFF"/>
                          </a:solidFill>
                          <a:effectLst/>
                          <a:latin typeface="Univers" panose="020B0503020202020204" pitchFamily="34" charset="0"/>
                        </a:rPr>
                        <a:t>Career Level Bucket </a:t>
                      </a:r>
                      <a:endParaRPr lang="en-US" sz="3200" b="1" i="0" dirty="0">
                        <a:solidFill>
                          <a:srgbClr val="FFFFFF"/>
                        </a:solidFill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1" i="0" dirty="0">
                          <a:solidFill>
                            <a:srgbClr val="FFFFFF"/>
                          </a:solidFill>
                          <a:effectLst/>
                          <a:latin typeface="Univers" panose="020B0503020202020204" pitchFamily="34" charset="0"/>
                        </a:rPr>
                        <a:t>Internal Fill </a:t>
                      </a:r>
                      <a:endParaRPr lang="en-US" sz="3200" b="1" i="0" dirty="0">
                        <a:solidFill>
                          <a:srgbClr val="FFFFFF"/>
                        </a:solidFill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1" i="0" dirty="0">
                          <a:solidFill>
                            <a:srgbClr val="FFFFFF"/>
                          </a:solidFill>
                          <a:effectLst/>
                          <a:latin typeface="Univers" panose="020B0503020202020204" pitchFamily="34" charset="0"/>
                        </a:rPr>
                        <a:t>Professional Turnover </a:t>
                      </a:r>
                      <a:endParaRPr lang="en-US" sz="3200" b="1" i="0" dirty="0">
                        <a:solidFill>
                          <a:srgbClr val="FFFFFF"/>
                        </a:solidFill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1" i="0" dirty="0">
                          <a:solidFill>
                            <a:srgbClr val="FFFFFF"/>
                          </a:solidFill>
                          <a:effectLst/>
                          <a:latin typeface="Univers" panose="020B0503020202020204" pitchFamily="34" charset="0"/>
                        </a:rPr>
                        <a:t>Manufacturing Turnover </a:t>
                      </a:r>
                      <a:endParaRPr lang="en-US" sz="3200" b="1" i="0" dirty="0">
                        <a:solidFill>
                          <a:srgbClr val="FFFFFF"/>
                        </a:solidFill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066615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E2 to E5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VP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4238970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M5 to E1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Director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4028772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M2 to M4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Manager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2956165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M1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Supervisor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3686889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P1 to P6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Professional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6613060"/>
                  </a:ext>
                </a:extLst>
              </a:tr>
              <a:tr h="906755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AT1 to AT4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Admin/ Technical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669025"/>
                  </a:ext>
                </a:extLst>
              </a:tr>
              <a:tr h="537472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None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DL/IDL </a:t>
                      </a:r>
                      <a:endParaRPr lang="en-US" sz="3200" b="0" i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>
                          <a:effectLst/>
                          <a:latin typeface="Univers" panose="020B0503020202020204" pitchFamily="34" charset="0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  <a:buNone/>
                      </a:pPr>
                      <a:r>
                        <a:rPr lang="en-US" sz="1400" b="0" i="0" dirty="0">
                          <a:effectLst/>
                          <a:latin typeface="Univers" panose="020B0503020202020204" pitchFamily="34" charset="0"/>
                        </a:rPr>
                        <a:t>X </a:t>
                      </a:r>
                      <a:endParaRPr lang="en-US" sz="3200" b="0" i="0" dirty="0">
                        <a:effectLst/>
                        <a:latin typeface="Univers" panose="020B0503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102961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3FD4C5-D3D8-53B9-3252-368291CFB9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423699F-98AD-636F-3148-5BF37E5F4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vd</a:t>
            </a:r>
            <a:r>
              <a:rPr lang="en-US" dirty="0"/>
              <a:t> metric populations</a:t>
            </a:r>
          </a:p>
        </p:txBody>
      </p:sp>
    </p:spTree>
    <p:extLst>
      <p:ext uri="{BB962C8B-B14F-4D97-AF65-F5344CB8AC3E}">
        <p14:creationId xmlns:p14="http://schemas.microsoft.com/office/powerpoint/2010/main" val="3438747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16CA-47EE-DD20-7928-33B046720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3B621E4-AD3C-D285-C498-FA99DD12402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10839" y="2743200"/>
          <a:ext cx="10303572" cy="1371600"/>
        </p:xfrm>
        <a:graphic>
          <a:graphicData uri="http://schemas.openxmlformats.org/drawingml/2006/table">
            <a:tbl>
              <a:tblPr/>
              <a:tblGrid>
                <a:gridCol w="1755143">
                  <a:extLst>
                    <a:ext uri="{9D8B030D-6E8A-4147-A177-3AD203B41FA5}">
                      <a16:colId xmlns:a16="http://schemas.microsoft.com/office/drawing/2014/main" val="3869732644"/>
                    </a:ext>
                  </a:extLst>
                </a:gridCol>
                <a:gridCol w="1527858">
                  <a:extLst>
                    <a:ext uri="{9D8B030D-6E8A-4147-A177-3AD203B41FA5}">
                      <a16:colId xmlns:a16="http://schemas.microsoft.com/office/drawing/2014/main" val="3589098800"/>
                    </a:ext>
                  </a:extLst>
                </a:gridCol>
                <a:gridCol w="896512">
                  <a:extLst>
                    <a:ext uri="{9D8B030D-6E8A-4147-A177-3AD203B41FA5}">
                      <a16:colId xmlns:a16="http://schemas.microsoft.com/office/drawing/2014/main" val="1370145009"/>
                    </a:ext>
                  </a:extLst>
                </a:gridCol>
                <a:gridCol w="1439470">
                  <a:extLst>
                    <a:ext uri="{9D8B030D-6E8A-4147-A177-3AD203B41FA5}">
                      <a16:colId xmlns:a16="http://schemas.microsoft.com/office/drawing/2014/main" val="3992346684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2984877733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1582128510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80482392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2526223040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2103705704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1315695585"/>
                    </a:ext>
                  </a:extLst>
                </a:gridCol>
                <a:gridCol w="669227">
                  <a:extLst>
                    <a:ext uri="{9D8B030D-6E8A-4147-A177-3AD203B41FA5}">
                      <a16:colId xmlns:a16="http://schemas.microsoft.com/office/drawing/2014/main" val="2391400679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V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PI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5 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273170"/>
                  </a:ext>
                </a:extLst>
              </a:tr>
              <a:tr h="24765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essional Turnove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ntary Turnover Professional  % .0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164070"/>
                  </a:ext>
                </a:extLst>
              </a:tr>
              <a:tr h="2476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103232"/>
                  </a:ext>
                </a:extLst>
              </a:tr>
              <a:tr h="2476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 / FORECAST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6591827"/>
                  </a:ext>
                </a:extLst>
              </a:tr>
              <a:tr h="2476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 Var %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291360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14C52E-0D74-E12F-290E-D101D964F8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98511C-F938-B5CD-DFEC-3F03B209D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C47065-3C83-FE30-E3BF-A1B6AEDBDBD2}"/>
              </a:ext>
            </a:extLst>
          </p:cNvPr>
          <p:cNvSpPr txBox="1"/>
          <p:nvPr/>
        </p:nvSpPr>
        <p:spPr>
          <a:xfrm>
            <a:off x="681228" y="5377933"/>
            <a:ext cx="768096" cy="369332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YT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BACB2C-7ABB-77E4-8AAE-43DACBA55938}"/>
              </a:ext>
            </a:extLst>
          </p:cNvPr>
          <p:cNvSpPr txBox="1"/>
          <p:nvPr/>
        </p:nvSpPr>
        <p:spPr>
          <a:xfrm>
            <a:off x="4734429" y="5377933"/>
            <a:ext cx="2404872" cy="369332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4"/>
                </a:solidFill>
              </a:rPr>
              <a:t>YTD Annualiz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99D483-749B-FACD-CF46-93A447F2F8A1}"/>
              </a:ext>
            </a:extLst>
          </p:cNvPr>
          <p:cNvSpPr txBox="1"/>
          <p:nvPr/>
        </p:nvSpPr>
        <p:spPr>
          <a:xfrm>
            <a:off x="7427483" y="5377933"/>
            <a:ext cx="664972" cy="369332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÷ 12  </a:t>
            </a:r>
          </a:p>
        </p:txBody>
      </p:sp>
      <p:sp>
        <p:nvSpPr>
          <p:cNvPr id="17" name="Equals 16">
            <a:extLst>
              <a:ext uri="{FF2B5EF4-FFF2-40B4-BE49-F238E27FC236}">
                <a16:creationId xmlns:a16="http://schemas.microsoft.com/office/drawing/2014/main" id="{1EF8C686-D2CB-D67F-ECE1-7510769E4C7F}"/>
              </a:ext>
            </a:extLst>
          </p:cNvPr>
          <p:cNvSpPr/>
          <p:nvPr/>
        </p:nvSpPr>
        <p:spPr>
          <a:xfrm>
            <a:off x="3851887" y="5397359"/>
            <a:ext cx="594360" cy="330481"/>
          </a:xfrm>
          <a:prstGeom prst="mathEqual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Equals 17">
            <a:extLst>
              <a:ext uri="{FF2B5EF4-FFF2-40B4-BE49-F238E27FC236}">
                <a16:creationId xmlns:a16="http://schemas.microsoft.com/office/drawing/2014/main" id="{3B7DAB9F-5BF8-5936-3DC2-C26E1F583B1F}"/>
              </a:ext>
            </a:extLst>
          </p:cNvPr>
          <p:cNvSpPr/>
          <p:nvPr/>
        </p:nvSpPr>
        <p:spPr>
          <a:xfrm>
            <a:off x="8380637" y="5397359"/>
            <a:ext cx="594360" cy="330481"/>
          </a:xfrm>
          <a:prstGeom prst="mathEqual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D8A46D-A471-D6BF-C94D-DB743CD11F3F}"/>
              </a:ext>
            </a:extLst>
          </p:cNvPr>
          <p:cNvSpPr txBox="1"/>
          <p:nvPr/>
        </p:nvSpPr>
        <p:spPr>
          <a:xfrm>
            <a:off x="9263178" y="5377933"/>
            <a:ext cx="2404872" cy="369332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Monthly Forecast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E4B7B5B-B474-F3EA-2966-4CA6F1D901E1}"/>
                  </a:ext>
                </a:extLst>
              </p:cNvPr>
              <p:cNvSpPr txBox="1"/>
              <p:nvPr/>
            </p:nvSpPr>
            <p:spPr>
              <a:xfrm>
                <a:off x="1737506" y="5304163"/>
                <a:ext cx="1826199" cy="516873"/>
              </a:xfrm>
              <a:prstGeom prst="rect">
                <a:avLst/>
              </a:prstGeom>
              <a:noFill/>
              <a:ln w="38100">
                <a:solidFill>
                  <a:schemeClr val="accent4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accent4"/>
                    </a:solidFill>
                  </a:rPr>
                  <a:t>*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i="1" smtClean="0">
                            <a:solidFill>
                              <a:schemeClr val="accent4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12</m:t>
                            </m:r>
                          </m:num>
                          <m:den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𝐶𝑢𝑟𝑟𝑒𝑛𝑡</m:t>
                            </m:r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US" b="0" i="1" smtClean="0">
                                <a:solidFill>
                                  <a:schemeClr val="accent4"/>
                                </a:solidFill>
                                <a:latin typeface="Cambria Math" panose="02040503050406030204" pitchFamily="18" charset="0"/>
                              </a:rPr>
                              <m:t>𝑀𝑜𝑛𝑡h</m:t>
                            </m:r>
                          </m:den>
                        </m:f>
                      </m:e>
                    </m:d>
                  </m:oMath>
                </a14:m>
                <a:endParaRPr lang="en-US" dirty="0">
                  <a:solidFill>
                    <a:schemeClr val="accent4"/>
                  </a:solidFill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E4B7B5B-B474-F3EA-2966-4CA6F1D901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7506" y="5304163"/>
                <a:ext cx="1826199" cy="516873"/>
              </a:xfrm>
              <a:prstGeom prst="rect">
                <a:avLst/>
              </a:prstGeom>
              <a:blipFill>
                <a:blip r:embed="rId2"/>
                <a:stretch>
                  <a:fillRect l="-654"/>
                </a:stretch>
              </a:blipFill>
              <a:ln w="38100">
                <a:solidFill>
                  <a:schemeClr val="accent4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80595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700BFB7-5CF3-2FCA-BE51-F2A209A449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1983595"/>
              </p:ext>
            </p:extLst>
          </p:nvPr>
        </p:nvGraphicFramePr>
        <p:xfrm>
          <a:off x="457200" y="1243584"/>
          <a:ext cx="11277600" cy="5052307"/>
        </p:xfrm>
        <a:graphic>
          <a:graphicData uri="http://schemas.openxmlformats.org/drawingml/2006/table">
            <a:tbl>
              <a:tblPr/>
              <a:tblGrid>
                <a:gridCol w="2682882">
                  <a:extLst>
                    <a:ext uri="{9D8B030D-6E8A-4147-A177-3AD203B41FA5}">
                      <a16:colId xmlns:a16="http://schemas.microsoft.com/office/drawing/2014/main" val="820507864"/>
                    </a:ext>
                  </a:extLst>
                </a:gridCol>
                <a:gridCol w="2840094">
                  <a:extLst>
                    <a:ext uri="{9D8B030D-6E8A-4147-A177-3AD203B41FA5}">
                      <a16:colId xmlns:a16="http://schemas.microsoft.com/office/drawing/2014/main" val="3264968160"/>
                    </a:ext>
                  </a:extLst>
                </a:gridCol>
                <a:gridCol w="1655064">
                  <a:extLst>
                    <a:ext uri="{9D8B030D-6E8A-4147-A177-3AD203B41FA5}">
                      <a16:colId xmlns:a16="http://schemas.microsoft.com/office/drawing/2014/main" val="113645139"/>
                    </a:ext>
                  </a:extLst>
                </a:gridCol>
                <a:gridCol w="2048256">
                  <a:extLst>
                    <a:ext uri="{9D8B030D-6E8A-4147-A177-3AD203B41FA5}">
                      <a16:colId xmlns:a16="http://schemas.microsoft.com/office/drawing/2014/main" val="2031631527"/>
                    </a:ext>
                  </a:extLst>
                </a:gridCol>
                <a:gridCol w="2051304">
                  <a:extLst>
                    <a:ext uri="{9D8B030D-6E8A-4147-A177-3AD203B41FA5}">
                      <a16:colId xmlns:a16="http://schemas.microsoft.com/office/drawing/2014/main" val="2170951052"/>
                    </a:ext>
                  </a:extLst>
                </a:gridCol>
              </a:tblGrid>
              <a:tr h="6110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V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KPI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5 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274787"/>
                  </a:ext>
                </a:extLst>
              </a:tr>
              <a:tr h="36665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fessional Turnove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untary Turnover Professional % .0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nnualized 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4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185549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4 – 10%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5543880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 / Forecast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5 Actual / 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nnualized YTD / 12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028034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 Var Bps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 Actual - 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352690"/>
                  </a:ext>
                </a:extLst>
              </a:tr>
              <a:tr h="36665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ufacturing Turnover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 / IDL Voluntary Turnover % .0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nnualized 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4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2507762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Goal set by business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29979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 / Forecast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5 Actual / </a:t>
                      </a:r>
                    </a:p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nnualized YTD / 12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2480797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 Var Bps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5 Actual - 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430501"/>
                  </a:ext>
                </a:extLst>
              </a:tr>
              <a:tr h="36665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dership Roles Fill Rate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 Fill Rate Supervisor+  % .0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YTD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Y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4 Actual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464497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969584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 / Forecast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2025 Actual / 50%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3457592"/>
                  </a:ext>
                </a:extLst>
              </a:tr>
              <a:tr h="3666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OP Var Bps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 Actual - AOP</a:t>
                      </a:r>
                    </a:p>
                  </a:txBody>
                  <a:tcPr marL="6350" marR="6350" marT="635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323079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692A5F-57DB-D14D-DE81-C2A7E6B2B6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927F3BD-EB56-714B-8AE1-FA405B1C991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421960-05BC-E622-CC28-D06FB1B59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603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RRX PPT">
      <a:dk1>
        <a:srgbClr val="000000"/>
      </a:dk1>
      <a:lt1>
        <a:srgbClr val="FFFFFF"/>
      </a:lt1>
      <a:dk2>
        <a:srgbClr val="002F6C"/>
      </a:dk2>
      <a:lt2>
        <a:srgbClr val="DDDDDE"/>
      </a:lt2>
      <a:accent1>
        <a:srgbClr val="62A709"/>
      </a:accent1>
      <a:accent2>
        <a:srgbClr val="14506D"/>
      </a:accent2>
      <a:accent3>
        <a:srgbClr val="579663"/>
      </a:accent3>
      <a:accent4>
        <a:srgbClr val="A0CC33"/>
      </a:accent4>
      <a:accent5>
        <a:srgbClr val="8A8A8A"/>
      </a:accent5>
      <a:accent6>
        <a:srgbClr val="4B9DA3"/>
      </a:accent6>
      <a:hlink>
        <a:srgbClr val="0563C1"/>
      </a:hlink>
      <a:folHlink>
        <a:srgbClr val="50B9E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8D54A303-5933-4D40-898C-E24AE9C99C58}" vid="{72182604-C10E-40F2-B3AF-3878EC57464C}"/>
    </a:ext>
  </a:extLst>
</a:theme>
</file>

<file path=ppt/theme/theme2.xml><?xml version="1.0" encoding="utf-8"?>
<a:theme xmlns:a="http://schemas.openxmlformats.org/drawingml/2006/main" name="1_RRX Divider Slide Options">
  <a:themeElements>
    <a:clrScheme name="RRX PowerPoint 2">
      <a:dk1>
        <a:srgbClr val="000000"/>
      </a:dk1>
      <a:lt1>
        <a:srgbClr val="FFFFFF"/>
      </a:lt1>
      <a:dk2>
        <a:srgbClr val="002F6C"/>
      </a:dk2>
      <a:lt2>
        <a:srgbClr val="DDDDDE"/>
      </a:lt2>
      <a:accent1>
        <a:srgbClr val="002F6C"/>
      </a:accent1>
      <a:accent2>
        <a:srgbClr val="63A70A"/>
      </a:accent2>
      <a:accent3>
        <a:srgbClr val="8C8C8D"/>
      </a:accent3>
      <a:accent4>
        <a:srgbClr val="1A526D"/>
      </a:accent4>
      <a:accent5>
        <a:srgbClr val="579765"/>
      </a:accent5>
      <a:accent6>
        <a:srgbClr val="A0CD35"/>
      </a:accent6>
      <a:hlink>
        <a:srgbClr val="0563C1"/>
      </a:hlink>
      <a:folHlink>
        <a:srgbClr val="50B9E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RX PPT Template_2024 R4" id="{F24451EB-BAB0-1C4D-8055-CD42757D6942}" vid="{C676FE41-0E78-184A-AFEC-E5596811E2A7}"/>
    </a:ext>
  </a:extLst>
</a:theme>
</file>

<file path=ppt/theme/theme3.xml><?xml version="1.0" encoding="utf-8"?>
<a:theme xmlns:a="http://schemas.openxmlformats.org/drawingml/2006/main" name="RRX Light Slide Deck">
  <a:themeElements>
    <a:clrScheme name="Regal Rexnord Theme Colors">
      <a:dk1>
        <a:srgbClr val="000000"/>
      </a:dk1>
      <a:lt1>
        <a:srgbClr val="FFFFFF"/>
      </a:lt1>
      <a:dk2>
        <a:srgbClr val="002F6C"/>
      </a:dk2>
      <a:lt2>
        <a:srgbClr val="C0CFE3"/>
      </a:lt2>
      <a:accent1>
        <a:srgbClr val="002F6C"/>
      </a:accent1>
      <a:accent2>
        <a:srgbClr val="71B840"/>
      </a:accent2>
      <a:accent3>
        <a:srgbClr val="8C8C8C"/>
      </a:accent3>
      <a:accent4>
        <a:srgbClr val="648EB6"/>
      </a:accent4>
      <a:accent5>
        <a:srgbClr val="B5DB73"/>
      </a:accent5>
      <a:accent6>
        <a:srgbClr val="C8C7C8"/>
      </a:accent6>
      <a:hlink>
        <a:srgbClr val="0563C1"/>
      </a:hlink>
      <a:folHlink>
        <a:srgbClr val="FFC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RX PPT Template_2024 R4" id="{F24451EB-BAB0-1C4D-8055-CD42757D6942}" vid="{3085A8C5-7987-6241-A1D2-165D6A0B03C5}"/>
    </a:ext>
  </a:extLst>
</a:theme>
</file>

<file path=ppt/theme/theme4.xml><?xml version="1.0" encoding="utf-8"?>
<a:theme xmlns:a="http://schemas.openxmlformats.org/drawingml/2006/main" name="RRX Dark Slide Deck">
  <a:themeElements>
    <a:clrScheme name="Custom 11">
      <a:dk1>
        <a:srgbClr val="000000"/>
      </a:dk1>
      <a:lt1>
        <a:srgbClr val="FFFFFF"/>
      </a:lt1>
      <a:dk2>
        <a:srgbClr val="002F6C"/>
      </a:dk2>
      <a:lt2>
        <a:srgbClr val="DDDDDE"/>
      </a:lt2>
      <a:accent1>
        <a:srgbClr val="002F6C"/>
      </a:accent1>
      <a:accent2>
        <a:srgbClr val="63A70A"/>
      </a:accent2>
      <a:accent3>
        <a:srgbClr val="8C8C8B"/>
      </a:accent3>
      <a:accent4>
        <a:srgbClr val="13526D"/>
      </a:accent4>
      <a:accent5>
        <a:srgbClr val="599765"/>
      </a:accent5>
      <a:accent6>
        <a:srgbClr val="9DCE32"/>
      </a:accent6>
      <a:hlink>
        <a:srgbClr val="0063C6"/>
      </a:hlink>
      <a:folHlink>
        <a:srgbClr val="53B9E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RX PPT Template_2024 R4" id="{F24451EB-BAB0-1C4D-8055-CD42757D6942}" vid="{E938FD7E-08DF-434D-8472-61C0CEACE2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711</TotalTime>
  <Words>782</Words>
  <Application>Microsoft Office PowerPoint</Application>
  <PresentationFormat>Widescreen</PresentationFormat>
  <Paragraphs>26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mbria Math</vt:lpstr>
      <vt:lpstr>Lexend Medium</vt:lpstr>
      <vt:lpstr>Univers</vt:lpstr>
      <vt:lpstr>Theme1</vt:lpstr>
      <vt:lpstr>1_RRX Divider Slide Options</vt:lpstr>
      <vt:lpstr>RRX Light Slide Deck</vt:lpstr>
      <vt:lpstr>RRX Dark Slide Deck</vt:lpstr>
      <vt:lpstr>think-cell Slide</vt:lpstr>
      <vt:lpstr>CVD Training</vt:lpstr>
      <vt:lpstr>agenda</vt:lpstr>
      <vt:lpstr>HR Core Value Drivers (CVDs)</vt:lpstr>
      <vt:lpstr>Decoding the cvd bowler</vt:lpstr>
      <vt:lpstr>Annualizing and forecasting Voluntary Turnover</vt:lpstr>
      <vt:lpstr>appendix</vt:lpstr>
      <vt:lpstr>Cvd metric population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agleson, Jenna</dc:creator>
  <cp:lastModifiedBy>Eagleson, Jenna</cp:lastModifiedBy>
  <cp:revision>1</cp:revision>
  <dcterms:created xsi:type="dcterms:W3CDTF">2025-04-22T14:31:50Z</dcterms:created>
  <dcterms:modified xsi:type="dcterms:W3CDTF">2025-04-30T22:35:39Z</dcterms:modified>
</cp:coreProperties>
</file>